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4"/>
    <p:sldMasterId id="2147483735" r:id="rId5"/>
  </p:sldMasterIdLst>
  <p:notesMasterIdLst>
    <p:notesMasterId r:id="rId8"/>
  </p:notesMasterIdLst>
  <p:sldIdLst>
    <p:sldId id="307" r:id="rId6"/>
    <p:sldId id="92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2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>
        <p:scale>
          <a:sx n="100" d="100"/>
          <a:sy n="100" d="100"/>
        </p:scale>
        <p:origin x="2988" y="1412"/>
      </p:cViewPr>
      <p:guideLst>
        <p:guide orient="horz" pos="142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96505-C9A9-4D51-82DD-6C806665F7F1}" type="datetimeFigureOut">
              <a:rPr lang="de-DE" smtClean="0"/>
              <a:t>20.06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5FEDC1-FA48-464C-828F-431D174D8EA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09920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laticon.com/" TargetMode="External"/><Relationship Id="rId2" Type="http://schemas.openxmlformats.org/officeDocument/2006/relationships/hyperlink" Target="https://slidesgo.com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freepik.com/" TargetMode="Externa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3" name="Google Shape;43;p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1"/>
          </p:nvPr>
        </p:nvSpPr>
        <p:spPr>
          <a:xfrm>
            <a:off x="6460660" y="3319323"/>
            <a:ext cx="39648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45" name="Google Shape;45;p5"/>
          <p:cNvSpPr txBox="1">
            <a:spLocks noGrp="1"/>
          </p:cNvSpPr>
          <p:nvPr>
            <p:ph type="body" idx="2"/>
          </p:nvPr>
        </p:nvSpPr>
        <p:spPr>
          <a:xfrm>
            <a:off x="1734767" y="3852933"/>
            <a:ext cx="3908400" cy="99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5"/>
          <p:cNvSpPr txBox="1">
            <a:spLocks noGrp="1"/>
          </p:cNvSpPr>
          <p:nvPr>
            <p:ph type="body" idx="3"/>
          </p:nvPr>
        </p:nvSpPr>
        <p:spPr>
          <a:xfrm>
            <a:off x="6460667" y="3842333"/>
            <a:ext cx="3964800" cy="10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2332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2133"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●"/>
              <a:defRPr sz="1867">
                <a:solidFill>
                  <a:srgbClr val="FFFFFF"/>
                </a:solidFill>
              </a:defRPr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○"/>
              <a:defRPr sz="1867">
                <a:solidFill>
                  <a:srgbClr val="FFFFFF"/>
                </a:solidFill>
              </a:defRPr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Char char="■"/>
              <a:defRPr sz="1867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sp>
        <p:nvSpPr>
          <p:cNvPr id="47" name="Google Shape;47;p5"/>
          <p:cNvSpPr txBox="1"/>
          <p:nvPr/>
        </p:nvSpPr>
        <p:spPr>
          <a:xfrm>
            <a:off x="1774759" y="4016767"/>
            <a:ext cx="3828400" cy="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2133"/>
              </a:spcAft>
              <a:buNone/>
            </a:pPr>
            <a:endParaRPr sz="2400">
              <a:solidFill>
                <a:srgbClr val="FFFFFF"/>
              </a:solidFill>
              <a:latin typeface="Raleway Black"/>
              <a:ea typeface="Raleway Black"/>
              <a:cs typeface="Raleway Black"/>
              <a:sym typeface="Raleway Black"/>
            </a:endParaRPr>
          </a:p>
        </p:txBody>
      </p:sp>
      <p:sp>
        <p:nvSpPr>
          <p:cNvPr id="48" name="Google Shape;48;p5"/>
          <p:cNvSpPr txBox="1">
            <a:spLocks noGrp="1"/>
          </p:cNvSpPr>
          <p:nvPr>
            <p:ph type="subTitle" idx="4"/>
          </p:nvPr>
        </p:nvSpPr>
        <p:spPr>
          <a:xfrm>
            <a:off x="1774759" y="3319323"/>
            <a:ext cx="38284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grpSp>
        <p:nvGrpSpPr>
          <p:cNvPr id="49" name="Google Shape;49;p5"/>
          <p:cNvGrpSpPr/>
          <p:nvPr/>
        </p:nvGrpSpPr>
        <p:grpSpPr>
          <a:xfrm>
            <a:off x="488934" y="974200"/>
            <a:ext cx="10944917" cy="2454784"/>
            <a:chOff x="404800" y="730650"/>
            <a:chExt cx="8208688" cy="1841088"/>
          </a:xfrm>
        </p:grpSpPr>
        <p:sp>
          <p:nvSpPr>
            <p:cNvPr id="50" name="Google Shape;50;p5"/>
            <p:cNvSpPr/>
            <p:nvPr/>
          </p:nvSpPr>
          <p:spPr>
            <a:xfrm>
              <a:off x="536175" y="73065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1" name="Google Shape;51;p5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2" name="Google Shape;52;p5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54" name="Google Shape;54;p5"/>
          <p:cNvGrpSpPr/>
          <p:nvPr/>
        </p:nvGrpSpPr>
        <p:grpSpPr>
          <a:xfrm rot="-2700000" flipH="1">
            <a:off x="1148446" y="4479891"/>
            <a:ext cx="795892" cy="1195223"/>
            <a:chOff x="8358300" y="3550499"/>
            <a:chExt cx="596925" cy="896426"/>
          </a:xfrm>
        </p:grpSpPr>
        <p:sp>
          <p:nvSpPr>
            <p:cNvPr id="55" name="Google Shape;55;p5"/>
            <p:cNvSpPr/>
            <p:nvPr/>
          </p:nvSpPr>
          <p:spPr>
            <a:xfrm>
              <a:off x="8358300" y="4152925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56" name="Google Shape;56;p5"/>
            <p:cNvSpPr/>
            <p:nvPr/>
          </p:nvSpPr>
          <p:spPr>
            <a:xfrm>
              <a:off x="8383125" y="3550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1843503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Title and four columns 1">
    <p:spTree>
      <p:nvGrpSpPr>
        <p:cNvPr id="1" name="Shape 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Google Shape;180;p17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81" name="Google Shape;181;p17"/>
          <p:cNvSpPr txBox="1">
            <a:spLocks noGrp="1"/>
          </p:cNvSpPr>
          <p:nvPr>
            <p:ph type="subTitle" idx="1"/>
          </p:nvPr>
        </p:nvSpPr>
        <p:spPr>
          <a:xfrm>
            <a:off x="35742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2" name="Google Shape;182;p17"/>
          <p:cNvSpPr txBox="1">
            <a:spLocks noGrp="1"/>
          </p:cNvSpPr>
          <p:nvPr>
            <p:ph type="subTitle" idx="2"/>
          </p:nvPr>
        </p:nvSpPr>
        <p:spPr>
          <a:xfrm>
            <a:off x="34218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3" name="Google Shape;183;p17"/>
          <p:cNvSpPr txBox="1">
            <a:spLocks noGrp="1"/>
          </p:cNvSpPr>
          <p:nvPr>
            <p:ph type="subTitle" idx="3"/>
          </p:nvPr>
        </p:nvSpPr>
        <p:spPr>
          <a:xfrm>
            <a:off x="8442700" y="2235889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4" name="Google Shape;184;p17"/>
          <p:cNvSpPr txBox="1">
            <a:spLocks noGrp="1"/>
          </p:cNvSpPr>
          <p:nvPr>
            <p:ph type="subTitle" idx="4"/>
          </p:nvPr>
        </p:nvSpPr>
        <p:spPr>
          <a:xfrm>
            <a:off x="945300" y="3654833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5" name="Google Shape;185;p17"/>
          <p:cNvSpPr txBox="1">
            <a:spLocks noGrp="1"/>
          </p:cNvSpPr>
          <p:nvPr>
            <p:ph type="subTitle" idx="5"/>
          </p:nvPr>
        </p:nvSpPr>
        <p:spPr>
          <a:xfrm>
            <a:off x="5928100" y="3656545"/>
            <a:ext cx="2804000" cy="588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700"/>
              <a:buFont typeface="Titillium Web"/>
              <a:buNone/>
              <a:defRPr sz="2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6" name="Google Shape;186;p17"/>
          <p:cNvSpPr txBox="1">
            <a:spLocks noGrp="1"/>
          </p:cNvSpPr>
          <p:nvPr>
            <p:ph type="subTitle" idx="6"/>
          </p:nvPr>
        </p:nvSpPr>
        <p:spPr>
          <a:xfrm>
            <a:off x="8595100" y="2767567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7" name="Google Shape;187;p17"/>
          <p:cNvSpPr txBox="1">
            <a:spLocks noGrp="1"/>
          </p:cNvSpPr>
          <p:nvPr>
            <p:ph type="subTitle" idx="7"/>
          </p:nvPr>
        </p:nvSpPr>
        <p:spPr>
          <a:xfrm>
            <a:off x="10977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8" name="Google Shape;188;p17"/>
          <p:cNvSpPr txBox="1">
            <a:spLocks noGrp="1"/>
          </p:cNvSpPr>
          <p:nvPr>
            <p:ph type="subTitle" idx="8"/>
          </p:nvPr>
        </p:nvSpPr>
        <p:spPr>
          <a:xfrm>
            <a:off x="6080500" y="4181675"/>
            <a:ext cx="2499200" cy="63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Titillium Web"/>
              <a:buNone/>
              <a:defRPr>
                <a:solidFill>
                  <a:schemeClr val="lt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89" name="Google Shape;189;p17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90" name="Google Shape;190;p17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91" name="Google Shape;191;p17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2" name="Google Shape;192;p17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  <p:sp>
          <p:nvSpPr>
            <p:cNvPr id="193" name="Google Shape;193;p17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latin typeface="Titillium Web"/>
                <a:ea typeface="Titillium Web"/>
                <a:cs typeface="Titillium Web"/>
                <a:sym typeface="Titillium Web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0499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19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12" name="Google Shape;212;p19"/>
          <p:cNvSpPr txBox="1">
            <a:spLocks noGrp="1"/>
          </p:cNvSpPr>
          <p:nvPr>
            <p:ph type="title"/>
          </p:nvPr>
        </p:nvSpPr>
        <p:spPr>
          <a:xfrm>
            <a:off x="12314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3" name="Google Shape;213;p19"/>
          <p:cNvSpPr txBox="1">
            <a:spLocks noGrp="1"/>
          </p:cNvSpPr>
          <p:nvPr>
            <p:ph type="subTitle" idx="1"/>
          </p:nvPr>
        </p:nvSpPr>
        <p:spPr>
          <a:xfrm>
            <a:off x="10542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 idx="2"/>
          </p:nvPr>
        </p:nvSpPr>
        <p:spPr>
          <a:xfrm>
            <a:off x="1231400" y="3557521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5" name="Google Shape;215;p19"/>
          <p:cNvSpPr txBox="1">
            <a:spLocks noGrp="1"/>
          </p:cNvSpPr>
          <p:nvPr>
            <p:ph type="subTitle" idx="3"/>
          </p:nvPr>
        </p:nvSpPr>
        <p:spPr>
          <a:xfrm>
            <a:off x="10542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6" name="Google Shape;216;p19"/>
          <p:cNvSpPr txBox="1">
            <a:spLocks noGrp="1"/>
          </p:cNvSpPr>
          <p:nvPr>
            <p:ph type="title" idx="4"/>
          </p:nvPr>
        </p:nvSpPr>
        <p:spPr>
          <a:xfrm>
            <a:off x="8039500" y="1687817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7" name="Google Shape;217;p19"/>
          <p:cNvSpPr txBox="1">
            <a:spLocks noGrp="1"/>
          </p:cNvSpPr>
          <p:nvPr>
            <p:ph type="subTitle" idx="5"/>
          </p:nvPr>
        </p:nvSpPr>
        <p:spPr>
          <a:xfrm>
            <a:off x="8039500" y="2284167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8" name="Google Shape;218;p19"/>
          <p:cNvSpPr txBox="1">
            <a:spLocks noGrp="1"/>
          </p:cNvSpPr>
          <p:nvPr>
            <p:ph type="title" idx="6"/>
          </p:nvPr>
        </p:nvSpPr>
        <p:spPr>
          <a:xfrm>
            <a:off x="8039500" y="3557524"/>
            <a:ext cx="2921200" cy="59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19" name="Google Shape;219;p19"/>
          <p:cNvSpPr txBox="1">
            <a:spLocks noGrp="1"/>
          </p:cNvSpPr>
          <p:nvPr>
            <p:ph type="subTitle" idx="7"/>
          </p:nvPr>
        </p:nvSpPr>
        <p:spPr>
          <a:xfrm>
            <a:off x="8039500" y="4153891"/>
            <a:ext cx="3098400" cy="75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Titillium Web"/>
              <a:buNone/>
              <a:defRPr sz="2800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220" name="Google Shape;220;p19"/>
          <p:cNvSpPr txBox="1">
            <a:spLocks noGrp="1"/>
          </p:cNvSpPr>
          <p:nvPr>
            <p:ph type="title" idx="8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21" name="Google Shape;221;p19"/>
          <p:cNvGrpSpPr/>
          <p:nvPr/>
        </p:nvGrpSpPr>
        <p:grpSpPr>
          <a:xfrm>
            <a:off x="361001" y="-748351"/>
            <a:ext cx="11503100" cy="2920985"/>
            <a:chOff x="270750" y="-561264"/>
            <a:chExt cx="8627325" cy="2190739"/>
          </a:xfrm>
        </p:grpSpPr>
        <p:grpSp>
          <p:nvGrpSpPr>
            <p:cNvPr id="222" name="Google Shape;222;p19"/>
            <p:cNvGrpSpPr/>
            <p:nvPr/>
          </p:nvGrpSpPr>
          <p:grpSpPr>
            <a:xfrm rot="10800000" flipH="1">
              <a:off x="270750" y="253149"/>
              <a:ext cx="8627325" cy="1376326"/>
              <a:chOff x="270750" y="2965824"/>
              <a:chExt cx="8627325" cy="1376326"/>
            </a:xfrm>
          </p:grpSpPr>
          <p:sp>
            <p:nvSpPr>
              <p:cNvPr id="223" name="Google Shape;223;p19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4" name="Google Shape;224;p19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225" name="Google Shape;225;p19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226" name="Google Shape;226;p19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4533045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" name="Google Shape;228;p2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29" name="Google Shape;229;p20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0" name="Google Shape;230;p20"/>
          <p:cNvGrpSpPr/>
          <p:nvPr/>
        </p:nvGrpSpPr>
        <p:grpSpPr>
          <a:xfrm>
            <a:off x="257633" y="334028"/>
            <a:ext cx="11625436" cy="5444192"/>
            <a:chOff x="193224" y="250521"/>
            <a:chExt cx="8719077" cy="4083144"/>
          </a:xfrm>
        </p:grpSpPr>
        <p:sp>
          <p:nvSpPr>
            <p:cNvPr id="231" name="Google Shape;231;p20"/>
            <p:cNvSpPr/>
            <p:nvPr/>
          </p:nvSpPr>
          <p:spPr>
            <a:xfrm>
              <a:off x="1717228" y="1859301"/>
              <a:ext cx="470400" cy="4704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2" name="Google Shape;232;p20"/>
            <p:cNvSpPr/>
            <p:nvPr/>
          </p:nvSpPr>
          <p:spPr>
            <a:xfrm>
              <a:off x="8291625" y="4138665"/>
              <a:ext cx="194700" cy="195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3" name="Google Shape;233;p20"/>
            <p:cNvSpPr/>
            <p:nvPr/>
          </p:nvSpPr>
          <p:spPr>
            <a:xfrm>
              <a:off x="8490521" y="250521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4" name="Google Shape;234;p20"/>
            <p:cNvSpPr/>
            <p:nvPr/>
          </p:nvSpPr>
          <p:spPr>
            <a:xfrm>
              <a:off x="193224" y="1617493"/>
              <a:ext cx="241500" cy="241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5" name="Google Shape;235;p20"/>
            <p:cNvSpPr/>
            <p:nvPr/>
          </p:nvSpPr>
          <p:spPr>
            <a:xfrm>
              <a:off x="8532801" y="3929875"/>
              <a:ext cx="379500" cy="37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36" name="Google Shape;236;p20"/>
          <p:cNvSpPr txBox="1">
            <a:spLocks noGrp="1"/>
          </p:cNvSpPr>
          <p:nvPr>
            <p:ph type="subTitle" idx="1"/>
          </p:nvPr>
        </p:nvSpPr>
        <p:spPr>
          <a:xfrm>
            <a:off x="3363000" y="1448600"/>
            <a:ext cx="5466000" cy="381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Titillium Web"/>
              <a:buChar char="●"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37" name="Google Shape;237;p20"/>
          <p:cNvGrpSpPr/>
          <p:nvPr/>
        </p:nvGrpSpPr>
        <p:grpSpPr>
          <a:xfrm rot="10800000" flipH="1">
            <a:off x="805500" y="1409033"/>
            <a:ext cx="11160200" cy="4846867"/>
            <a:chOff x="604125" y="-96626"/>
            <a:chExt cx="8370150" cy="3635150"/>
          </a:xfrm>
        </p:grpSpPr>
        <p:sp>
          <p:nvSpPr>
            <p:cNvPr id="238" name="Google Shape;238;p20"/>
            <p:cNvSpPr/>
            <p:nvPr/>
          </p:nvSpPr>
          <p:spPr>
            <a:xfrm>
              <a:off x="604125" y="25814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39" name="Google Shape;239;p20"/>
            <p:cNvSpPr/>
            <p:nvPr/>
          </p:nvSpPr>
          <p:spPr>
            <a:xfrm>
              <a:off x="8063025" y="27908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0" name="Google Shape;240;p20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1" name="Google Shape;241;p20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2" name="Google Shape;242;p20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3" name="Google Shape;243;p20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498503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46" name="Google Shape;246;p2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247" name="Google Shape;247;p21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48" name="Google Shape;248;p21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49" name="Google Shape;249;p21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0" name="Google Shape;250;p21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1" name="Google Shape;251;p21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2" name="Google Shape;252;p21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3" name="Google Shape;253;p21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4" name="Google Shape;254;p21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55" name="Google Shape;255;p21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1741560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Title only 2"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22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58" name="Google Shape;258;p22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59" name="Google Shape;259;p22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260" name="Google Shape;260;p22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1" name="Google Shape;261;p22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2" name="Google Shape;262;p22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3" name="Google Shape;263;p22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4" name="Google Shape;264;p22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5" name="Google Shape;265;p22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6" name="Google Shape;266;p22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67" name="Google Shape;267;p22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7349605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Title only 3"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Google Shape;269;p2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70" name="Google Shape;270;p23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271" name="Google Shape;271;p23"/>
          <p:cNvGrpSpPr/>
          <p:nvPr/>
        </p:nvGrpSpPr>
        <p:grpSpPr>
          <a:xfrm flipH="1">
            <a:off x="387067" y="292165"/>
            <a:ext cx="11582965" cy="6199784"/>
            <a:chOff x="412338" y="27249"/>
            <a:chExt cx="8687224" cy="4649838"/>
          </a:xfrm>
        </p:grpSpPr>
        <p:sp>
          <p:nvSpPr>
            <p:cNvPr id="272" name="Google Shape;272;p23"/>
            <p:cNvSpPr/>
            <p:nvPr/>
          </p:nvSpPr>
          <p:spPr>
            <a:xfrm>
              <a:off x="412338" y="904050"/>
              <a:ext cx="687300" cy="6873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3" name="Google Shape;273;p23"/>
            <p:cNvSpPr/>
            <p:nvPr/>
          </p:nvSpPr>
          <p:spPr>
            <a:xfrm>
              <a:off x="959150" y="39782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4" name="Google Shape;274;p23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5" name="Google Shape;275;p23"/>
            <p:cNvSpPr/>
            <p:nvPr/>
          </p:nvSpPr>
          <p:spPr>
            <a:xfrm>
              <a:off x="7399500" y="272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6" name="Google Shape;276;p23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7" name="Google Shape;277;p23"/>
            <p:cNvSpPr/>
            <p:nvPr/>
          </p:nvSpPr>
          <p:spPr>
            <a:xfrm>
              <a:off x="6661875" y="41562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78" name="Google Shape;278;p23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3394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Thanks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Google Shape;280;p2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1" name="Google Shape;281;p24"/>
          <p:cNvSpPr txBox="1">
            <a:spLocks noGrp="1"/>
          </p:cNvSpPr>
          <p:nvPr>
            <p:ph type="title"/>
          </p:nvPr>
        </p:nvSpPr>
        <p:spPr>
          <a:xfrm>
            <a:off x="3569200" y="994500"/>
            <a:ext cx="5053600" cy="955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282" name="Google Shape;282;p24"/>
          <p:cNvSpPr txBox="1">
            <a:spLocks noGrp="1"/>
          </p:cNvSpPr>
          <p:nvPr>
            <p:ph type="subTitle" idx="1"/>
          </p:nvPr>
        </p:nvSpPr>
        <p:spPr>
          <a:xfrm>
            <a:off x="3977735" y="2061500"/>
            <a:ext cx="4236400" cy="145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4"/>
          <p:cNvSpPr txBox="1"/>
          <p:nvPr/>
        </p:nvSpPr>
        <p:spPr>
          <a:xfrm>
            <a:off x="3874200" y="4390100"/>
            <a:ext cx="4443600" cy="9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REDITS: This presentation template was created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cluding icon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-GB" sz="1600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, infographics &amp; images by </a:t>
            </a:r>
            <a:r>
              <a:rPr lang="en-GB" sz="1600" b="1">
                <a:solidFill>
                  <a:schemeClr val="dk1"/>
                </a:solidFill>
                <a:uFill>
                  <a:noFill/>
                </a:uFill>
                <a:latin typeface="Libre Franklin"/>
                <a:ea typeface="Libre Franklin"/>
                <a:cs typeface="Libre Franklin"/>
                <a:sym typeface="Libre Franklin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endParaRPr sz="1600" b="1">
              <a:solidFill>
                <a:schemeClr val="dk1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</p:txBody>
      </p:sp>
      <p:sp>
        <p:nvSpPr>
          <p:cNvPr id="284" name="Google Shape;284;p24"/>
          <p:cNvSpPr/>
          <p:nvPr/>
        </p:nvSpPr>
        <p:spPr>
          <a:xfrm>
            <a:off x="8864517" y="3429000"/>
            <a:ext cx="1586400" cy="1586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5" name="Google Shape;285;p24"/>
          <p:cNvSpPr/>
          <p:nvPr/>
        </p:nvSpPr>
        <p:spPr>
          <a:xfrm>
            <a:off x="2941700" y="4636133"/>
            <a:ext cx="762800" cy="7628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6" name="Google Shape;286;p24"/>
          <p:cNvSpPr/>
          <p:nvPr/>
        </p:nvSpPr>
        <p:spPr>
          <a:xfrm>
            <a:off x="11068200" y="5397533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7" name="Google Shape;287;p24"/>
          <p:cNvSpPr/>
          <p:nvPr/>
        </p:nvSpPr>
        <p:spPr>
          <a:xfrm>
            <a:off x="8580500" y="363865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8" name="Google Shape;288;p24"/>
          <p:cNvSpPr/>
          <p:nvPr/>
        </p:nvSpPr>
        <p:spPr>
          <a:xfrm>
            <a:off x="1182600" y="1419299"/>
            <a:ext cx="762800" cy="7636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9" name="Google Shape;289;p24"/>
          <p:cNvSpPr/>
          <p:nvPr/>
        </p:nvSpPr>
        <p:spPr>
          <a:xfrm>
            <a:off x="1879300" y="3170700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0" name="Google Shape;290;p24"/>
          <p:cNvSpPr/>
          <p:nvPr/>
        </p:nvSpPr>
        <p:spPr>
          <a:xfrm>
            <a:off x="10891717" y="2236884"/>
            <a:ext cx="693600" cy="6944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91" name="Google Shape;291;p24"/>
          <p:cNvSpPr/>
          <p:nvPr/>
        </p:nvSpPr>
        <p:spPr>
          <a:xfrm>
            <a:off x="843360" y="2061508"/>
            <a:ext cx="391600" cy="3920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903349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Background 1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294" name="Google Shape;294;p25"/>
          <p:cNvGrpSpPr/>
          <p:nvPr/>
        </p:nvGrpSpPr>
        <p:grpSpPr>
          <a:xfrm flipH="1">
            <a:off x="621484" y="377767"/>
            <a:ext cx="11080651" cy="5410851"/>
            <a:chOff x="270750" y="369050"/>
            <a:chExt cx="8310488" cy="4058138"/>
          </a:xfrm>
        </p:grpSpPr>
        <p:sp>
          <p:nvSpPr>
            <p:cNvPr id="295" name="Google Shape;295;p25"/>
            <p:cNvSpPr/>
            <p:nvPr/>
          </p:nvSpPr>
          <p:spPr>
            <a:xfrm>
              <a:off x="622525" y="369050"/>
              <a:ext cx="896100" cy="896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6" name="Google Shape;296;p25"/>
            <p:cNvSpPr/>
            <p:nvPr/>
          </p:nvSpPr>
          <p:spPr>
            <a:xfrm>
              <a:off x="270750" y="2638875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7" name="Google Shape;297;p25"/>
            <p:cNvSpPr/>
            <p:nvPr/>
          </p:nvSpPr>
          <p:spPr>
            <a:xfrm rot="10800000">
              <a:off x="8287538" y="3923537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8" name="Google Shape;298;p25"/>
            <p:cNvSpPr/>
            <p:nvPr/>
          </p:nvSpPr>
          <p:spPr>
            <a:xfrm>
              <a:off x="7891375" y="14944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99" name="Google Shape;299;p25"/>
            <p:cNvSpPr/>
            <p:nvPr/>
          </p:nvSpPr>
          <p:spPr>
            <a:xfrm rot="10800000">
              <a:off x="7637888" y="38544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0" name="Google Shape;300;p25"/>
            <p:cNvSpPr/>
            <p:nvPr/>
          </p:nvSpPr>
          <p:spPr>
            <a:xfrm>
              <a:off x="2194400" y="340271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1" name="Google Shape;301;p25"/>
            <p:cNvSpPr/>
            <p:nvPr/>
          </p:nvSpPr>
          <p:spPr>
            <a:xfrm>
              <a:off x="6692981" y="897169"/>
              <a:ext cx="274200" cy="2745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2" name="Google Shape;302;p25"/>
            <p:cNvSpPr/>
            <p:nvPr/>
          </p:nvSpPr>
          <p:spPr>
            <a:xfrm>
              <a:off x="1661220" y="625231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2296680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2">
  <p:cSld name="Background 2">
    <p:spTree>
      <p:nvGrpSpPr>
        <p:cNvPr id="1" name="Shape 3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" name="Google Shape;304;p2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05" name="Google Shape;305;p26"/>
          <p:cNvGrpSpPr/>
          <p:nvPr/>
        </p:nvGrpSpPr>
        <p:grpSpPr>
          <a:xfrm flipH="1">
            <a:off x="488001" y="337532"/>
            <a:ext cx="11417863" cy="5474584"/>
            <a:chOff x="536166" y="253149"/>
            <a:chExt cx="8563397" cy="4105938"/>
          </a:xfrm>
        </p:grpSpPr>
        <p:sp>
          <p:nvSpPr>
            <p:cNvPr id="306" name="Google Shape;306;p26"/>
            <p:cNvSpPr/>
            <p:nvPr/>
          </p:nvSpPr>
          <p:spPr>
            <a:xfrm>
              <a:off x="536166" y="349650"/>
              <a:ext cx="860700" cy="860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7" name="Google Shape;307;p26"/>
            <p:cNvSpPr/>
            <p:nvPr/>
          </p:nvSpPr>
          <p:spPr>
            <a:xfrm>
              <a:off x="723100" y="313160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8" name="Google Shape;308;p26"/>
            <p:cNvSpPr/>
            <p:nvPr/>
          </p:nvSpPr>
          <p:spPr>
            <a:xfrm rot="10800000">
              <a:off x="8805863" y="353166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09" name="Google Shape;309;p26"/>
            <p:cNvSpPr/>
            <p:nvPr/>
          </p:nvSpPr>
          <p:spPr>
            <a:xfrm>
              <a:off x="8466300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0" name="Google Shape;310;p26"/>
            <p:cNvSpPr/>
            <p:nvPr/>
          </p:nvSpPr>
          <p:spPr>
            <a:xfrm rot="10800000">
              <a:off x="8272438" y="3786388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1" name="Google Shape;311;p26"/>
            <p:cNvSpPr/>
            <p:nvPr/>
          </p:nvSpPr>
          <p:spPr>
            <a:xfrm>
              <a:off x="3585300" y="25428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2" name="Google Shape;312;p26"/>
            <p:cNvSpPr/>
            <p:nvPr/>
          </p:nvSpPr>
          <p:spPr>
            <a:xfrm>
              <a:off x="5778038" y="13197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313" name="Google Shape;313;p26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8303168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4">
  <p:cSld name="Background 4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26" name="Google Shape;326;p28"/>
          <p:cNvGrpSpPr/>
          <p:nvPr/>
        </p:nvGrpSpPr>
        <p:grpSpPr>
          <a:xfrm>
            <a:off x="361001" y="-748351"/>
            <a:ext cx="11503100" cy="6618700"/>
            <a:chOff x="270750" y="-561264"/>
            <a:chExt cx="8627325" cy="4964025"/>
          </a:xfrm>
        </p:grpSpPr>
        <p:grpSp>
          <p:nvGrpSpPr>
            <p:cNvPr id="327" name="Google Shape;327;p28"/>
            <p:cNvGrpSpPr/>
            <p:nvPr/>
          </p:nvGrpSpPr>
          <p:grpSpPr>
            <a:xfrm rot="10800000" flipH="1">
              <a:off x="270750" y="253149"/>
              <a:ext cx="8627325" cy="4149612"/>
              <a:chOff x="270750" y="192538"/>
              <a:chExt cx="8627325" cy="4149612"/>
            </a:xfrm>
          </p:grpSpPr>
          <p:sp>
            <p:nvSpPr>
              <p:cNvPr id="328" name="Google Shape;328;p28"/>
              <p:cNvSpPr/>
              <p:nvPr/>
            </p:nvSpPr>
            <p:spPr>
              <a:xfrm>
                <a:off x="270750" y="3248150"/>
                <a:ext cx="572100" cy="5721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29" name="Google Shape;329;p28"/>
              <p:cNvSpPr/>
              <p:nvPr/>
            </p:nvSpPr>
            <p:spPr>
              <a:xfrm>
                <a:off x="8301150" y="4048150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0" name="Google Shape;330;p28"/>
              <p:cNvSpPr/>
              <p:nvPr/>
            </p:nvSpPr>
            <p:spPr>
              <a:xfrm>
                <a:off x="7218275" y="36057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1" name="Google Shape;331;p28"/>
              <p:cNvSpPr/>
              <p:nvPr/>
            </p:nvSpPr>
            <p:spPr>
              <a:xfrm>
                <a:off x="8325975" y="2965824"/>
                <a:ext cx="572100" cy="5727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2" name="Google Shape;332;p28"/>
              <p:cNvSpPr/>
              <p:nvPr/>
            </p:nvSpPr>
            <p:spPr>
              <a:xfrm>
                <a:off x="817013" y="192538"/>
                <a:ext cx="520200" cy="5208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  <p:sp>
            <p:nvSpPr>
              <p:cNvPr id="333" name="Google Shape;333;p28"/>
              <p:cNvSpPr/>
              <p:nvPr/>
            </p:nvSpPr>
            <p:spPr>
              <a:xfrm>
                <a:off x="1337220" y="250706"/>
                <a:ext cx="293700" cy="294000"/>
              </a:xfrm>
              <a:prstGeom prst="donut">
                <a:avLst>
                  <a:gd name="adj" fmla="val 15949"/>
                </a:avLst>
              </a:pr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/>
              </a:p>
            </p:txBody>
          </p:sp>
        </p:grpSp>
        <p:sp>
          <p:nvSpPr>
            <p:cNvPr id="334" name="Google Shape;334;p28"/>
            <p:cNvSpPr/>
            <p:nvPr/>
          </p:nvSpPr>
          <p:spPr>
            <a:xfrm rot="-10244201">
              <a:off x="1290109" y="-473041"/>
              <a:ext cx="1192755" cy="1192755"/>
            </a:xfrm>
            <a:prstGeom prst="blockArc">
              <a:avLst>
                <a:gd name="adj1" fmla="val 10247770"/>
                <a:gd name="adj2" fmla="val 21057893"/>
                <a:gd name="adj3" fmla="val 12924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1983352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8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8" name="Google Shape;78;p8"/>
          <p:cNvSpPr txBox="1">
            <a:spLocks noGrp="1"/>
          </p:cNvSpPr>
          <p:nvPr>
            <p:ph type="title"/>
          </p:nvPr>
        </p:nvSpPr>
        <p:spPr>
          <a:xfrm>
            <a:off x="1850800" y="7018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Font typeface="Titillium Web"/>
              <a:buNone/>
              <a:defRPr sz="64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79" name="Google Shape;79;p8"/>
          <p:cNvGrpSpPr/>
          <p:nvPr/>
        </p:nvGrpSpPr>
        <p:grpSpPr>
          <a:xfrm rot="10800000" flipH="1">
            <a:off x="1468208" y="337533"/>
            <a:ext cx="10149027" cy="3932239"/>
            <a:chOff x="404800" y="-890960"/>
            <a:chExt cx="8937149" cy="3462697"/>
          </a:xfrm>
        </p:grpSpPr>
        <p:sp>
          <p:nvSpPr>
            <p:cNvPr id="80" name="Google Shape;80;p8"/>
            <p:cNvSpPr/>
            <p:nvPr/>
          </p:nvSpPr>
          <p:spPr>
            <a:xfrm>
              <a:off x="8152149" y="-890960"/>
              <a:ext cx="1189800" cy="1189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1" name="Google Shape;81;p8"/>
            <p:cNvSpPr/>
            <p:nvPr/>
          </p:nvSpPr>
          <p:spPr>
            <a:xfrm rot="10800000">
              <a:off x="8319788" y="1398812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2" name="Google Shape;82;p8"/>
            <p:cNvSpPr/>
            <p:nvPr/>
          </p:nvSpPr>
          <p:spPr>
            <a:xfrm rot="10800000">
              <a:off x="8016563" y="1770163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3" name="Google Shape;83;p8"/>
            <p:cNvSpPr/>
            <p:nvPr/>
          </p:nvSpPr>
          <p:spPr>
            <a:xfrm>
              <a:off x="404800" y="205093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84" name="Google Shape;84;p8"/>
          <p:cNvSpPr/>
          <p:nvPr/>
        </p:nvSpPr>
        <p:spPr>
          <a:xfrm rot="10800000" flipH="1">
            <a:off x="6329097" y="4404471"/>
            <a:ext cx="1351200" cy="1351200"/>
          </a:xfrm>
          <a:prstGeom prst="donut">
            <a:avLst>
              <a:gd name="adj" fmla="val 15949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85" name="Google Shape;85;p8"/>
          <p:cNvGrpSpPr/>
          <p:nvPr/>
        </p:nvGrpSpPr>
        <p:grpSpPr>
          <a:xfrm rot="10800000">
            <a:off x="361001" y="986813"/>
            <a:ext cx="11503100" cy="5452001"/>
            <a:chOff x="270750" y="253149"/>
            <a:chExt cx="8627325" cy="4089001"/>
          </a:xfrm>
        </p:grpSpPr>
        <p:sp>
          <p:nvSpPr>
            <p:cNvPr id="86" name="Google Shape;86;p8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7" name="Google Shape;87;p8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8" name="Google Shape;88;p8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89" name="Google Shape;89;p8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90" name="Google Shape;90;p8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2835000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ítulo y objetos" type="obj">
  <p:cSld name="1_Título y objetos">
    <p:spTree>
      <p:nvGrpSpPr>
        <p:cNvPr id="1" name="Shape 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Google Shape;336;p29"/>
          <p:cNvSpPr txBox="1">
            <a:spLocks noGrp="1"/>
          </p:cNvSpPr>
          <p:nvPr>
            <p:ph type="title"/>
          </p:nvPr>
        </p:nvSpPr>
        <p:spPr>
          <a:xfrm>
            <a:off x="0" y="0"/>
            <a:ext cx="10972800" cy="8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29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5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57189" algn="l" rtl="0">
              <a:spcBef>
                <a:spcPts val="48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207209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2">
  <p:cSld name="Custom Layout 2">
    <p:spTree>
      <p:nvGrpSpPr>
        <p:cNvPr id="1" name="Shape 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Google Shape;339;p30"/>
          <p:cNvSpPr/>
          <p:nvPr/>
        </p:nvSpPr>
        <p:spPr>
          <a:xfrm>
            <a:off x="109833" y="107600"/>
            <a:ext cx="11974400" cy="6642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0" name="Google Shape;340;p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83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800"/>
              <a:buFont typeface="Titillium Web"/>
              <a:buNone/>
              <a:defRPr b="1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56043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p31"/>
          <p:cNvSpPr/>
          <p:nvPr/>
        </p:nvSpPr>
        <p:spPr>
          <a:xfrm>
            <a:off x="0" y="0"/>
            <a:ext cx="12192000" cy="1640800"/>
          </a:xfrm>
          <a:prstGeom prst="rect">
            <a:avLst/>
          </a:prstGeom>
          <a:solidFill>
            <a:srgbClr val="4F157B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43" name="Google Shape;343;p31"/>
          <p:cNvSpPr txBox="1">
            <a:spLocks noGrp="1"/>
          </p:cNvSpPr>
          <p:nvPr>
            <p:ph type="ctrTitle"/>
          </p:nvPr>
        </p:nvSpPr>
        <p:spPr>
          <a:xfrm>
            <a:off x="203200" y="-101600"/>
            <a:ext cx="10911600" cy="103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200"/>
              <a:buFont typeface="Titillium Web"/>
              <a:buNone/>
              <a:defRPr sz="4267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44" name="Google Shape;344;p31"/>
          <p:cNvSpPr txBox="1">
            <a:spLocks noGrp="1"/>
          </p:cNvSpPr>
          <p:nvPr>
            <p:ph type="subTitle" idx="1"/>
          </p:nvPr>
        </p:nvSpPr>
        <p:spPr>
          <a:xfrm>
            <a:off x="180867" y="895833"/>
            <a:ext cx="10911600" cy="74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300"/>
              <a:buFont typeface="Titillium Web"/>
              <a:buNone/>
              <a:defRPr sz="1733">
                <a:solidFill>
                  <a:srgbClr val="FFFFFF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32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00244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ENTER">
    <p:bg bwMode="gray"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2" name="Titel"/>
          <p:cNvSpPr>
            <a:spLocks noGrp="1"/>
          </p:cNvSpPr>
          <p:nvPr>
            <p:ph type="ctrTitle" hasCustomPrompt="1"/>
          </p:nvPr>
        </p:nvSpPr>
        <p:spPr bwMode="gray">
          <a:xfrm>
            <a:off x="1055344" y="0"/>
            <a:ext cx="10081312" cy="3744000"/>
          </a:xfrm>
        </p:spPr>
        <p:txBody>
          <a:bodyPr anchor="b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1000"/>
              </a:spcAft>
              <a:defRPr sz="8800">
                <a:solidFill>
                  <a:srgbClr val="FFFFFF"/>
                </a:solidFill>
                <a:latin typeface="Bebas Neue" panose="020B0506020202020201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itle style</a:t>
            </a:r>
            <a:endParaRPr lang="de-DE" noProof="0" dirty="0"/>
          </a:p>
        </p:txBody>
      </p:sp>
      <p:sp>
        <p:nvSpPr>
          <p:cNvPr id="3" name="Untertitel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55344" y="3744000"/>
            <a:ext cx="10081312" cy="2070000"/>
          </a:xfrm>
        </p:spPr>
        <p:txBody>
          <a:bodyPr/>
          <a:lstStyle>
            <a:lvl1pPr marL="0" indent="0" algn="l">
              <a:buNone/>
              <a:defRPr sz="440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92320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">
            <a:extLst>
              <a:ext uri="{FF2B5EF4-FFF2-40B4-BE49-F238E27FC236}">
                <a16:creationId xmlns:a16="http://schemas.microsoft.com/office/drawing/2014/main" id="{3EA622CB-2F1F-48FE-8B01-01179C64183F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 bwMode="gray">
          <a:xfrm>
            <a:off x="7280150" y="15120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5" name="Bild">
            <a:extLst>
              <a:ext uri="{FF2B5EF4-FFF2-40B4-BE49-F238E27FC236}">
                <a16:creationId xmlns:a16="http://schemas.microsoft.com/office/drawing/2014/main" id="{CC87BA64-5E8C-4E10-A752-ECCDD4D92F74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 bwMode="gray">
          <a:xfrm>
            <a:off x="7280150" y="29952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7" name="Bild">
            <a:extLst>
              <a:ext uri="{FF2B5EF4-FFF2-40B4-BE49-F238E27FC236}">
                <a16:creationId xmlns:a16="http://schemas.microsoft.com/office/drawing/2014/main" id="{7606C66F-EC23-41EB-8980-E2990060E397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 bwMode="gray">
          <a:xfrm>
            <a:off x="2786766" y="15120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8" name="Bild">
            <a:extLst>
              <a:ext uri="{FF2B5EF4-FFF2-40B4-BE49-F238E27FC236}">
                <a16:creationId xmlns:a16="http://schemas.microsoft.com/office/drawing/2014/main" id="{E90AC252-62E0-49FB-B495-CA5CD6ACF0C1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 bwMode="gray">
          <a:xfrm>
            <a:off x="2786766" y="2995200"/>
            <a:ext cx="2124276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2" name="Bild">
            <a:extLst>
              <a:ext uri="{FF2B5EF4-FFF2-40B4-BE49-F238E27FC236}">
                <a16:creationId xmlns:a16="http://schemas.microsoft.com/office/drawing/2014/main" id="{5A934E3A-28CB-4138-9B93-F3E17035A23B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 bwMode="gray">
          <a:xfrm>
            <a:off x="540074" y="4478400"/>
            <a:ext cx="5484711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3" name="Bild">
            <a:extLst>
              <a:ext uri="{FF2B5EF4-FFF2-40B4-BE49-F238E27FC236}">
                <a16:creationId xmlns:a16="http://schemas.microsoft.com/office/drawing/2014/main" id="{DB51C676-B55C-49F1-A428-C40C9D522B79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 bwMode="gray">
          <a:xfrm>
            <a:off x="6166407" y="4478400"/>
            <a:ext cx="5484711" cy="13320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0" name="Bild">
            <a:extLst>
              <a:ext uri="{FF2B5EF4-FFF2-40B4-BE49-F238E27FC236}">
                <a16:creationId xmlns:a16="http://schemas.microsoft.com/office/drawing/2014/main" id="{EDBA58A3-EC37-4306-AD5F-5252EFFE59CB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 bwMode="gray">
          <a:xfrm>
            <a:off x="5033458" y="1512000"/>
            <a:ext cx="2124276" cy="281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41" name="Bild">
            <a:extLst>
              <a:ext uri="{FF2B5EF4-FFF2-40B4-BE49-F238E27FC236}">
                <a16:creationId xmlns:a16="http://schemas.microsoft.com/office/drawing/2014/main" id="{BF2E8D61-FA5F-4338-9EFB-D867D41CEF8E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 bwMode="gray">
          <a:xfrm>
            <a:off x="9526842" y="1512000"/>
            <a:ext cx="2124276" cy="281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31" name="Inhalt 6">
            <a:extLst>
              <a:ext uri="{FF2B5EF4-FFF2-40B4-BE49-F238E27FC236}">
                <a16:creationId xmlns:a16="http://schemas.microsoft.com/office/drawing/2014/main" id="{39BD1C62-6E4D-4BBC-84EA-DE5A74FF5FCC}"/>
              </a:ext>
            </a:extLst>
          </p:cNvPr>
          <p:cNvSpPr>
            <a:spLocks noGrp="1"/>
          </p:cNvSpPr>
          <p:nvPr>
            <p:ph idx="23" hasCustomPrompt="1"/>
          </p:nvPr>
        </p:nvSpPr>
        <p:spPr bwMode="gray">
          <a:xfrm>
            <a:off x="540072" y="4478400"/>
            <a:ext cx="5484712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title style</a:t>
            </a:r>
          </a:p>
        </p:txBody>
      </p:sp>
      <p:sp>
        <p:nvSpPr>
          <p:cNvPr id="32" name="Inhalt 6">
            <a:extLst>
              <a:ext uri="{FF2B5EF4-FFF2-40B4-BE49-F238E27FC236}">
                <a16:creationId xmlns:a16="http://schemas.microsoft.com/office/drawing/2014/main" id="{7C3334BF-64DC-413F-A8E4-CDDB7439678A}"/>
              </a:ext>
            </a:extLst>
          </p:cNvPr>
          <p:cNvSpPr>
            <a:spLocks noGrp="1"/>
          </p:cNvSpPr>
          <p:nvPr>
            <p:ph idx="24" hasCustomPrompt="1"/>
          </p:nvPr>
        </p:nvSpPr>
        <p:spPr bwMode="gray">
          <a:xfrm>
            <a:off x="6166405" y="4478400"/>
            <a:ext cx="5484712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title style</a:t>
            </a:r>
          </a:p>
        </p:txBody>
      </p:sp>
      <p:sp>
        <p:nvSpPr>
          <p:cNvPr id="34" name="Inhalt 6">
            <a:extLst>
              <a:ext uri="{FF2B5EF4-FFF2-40B4-BE49-F238E27FC236}">
                <a16:creationId xmlns:a16="http://schemas.microsoft.com/office/drawing/2014/main" id="{7FBA5E69-4F0E-483D-8329-2476B9FBD5E6}"/>
              </a:ext>
            </a:extLst>
          </p:cNvPr>
          <p:cNvSpPr>
            <a:spLocks noGrp="1"/>
          </p:cNvSpPr>
          <p:nvPr>
            <p:ph idx="26" hasCustomPrompt="1"/>
          </p:nvPr>
        </p:nvSpPr>
        <p:spPr bwMode="gray">
          <a:xfrm>
            <a:off x="5033458" y="1512000"/>
            <a:ext cx="2124276" cy="28152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5" name="Inhalt 6">
            <a:extLst>
              <a:ext uri="{FF2B5EF4-FFF2-40B4-BE49-F238E27FC236}">
                <a16:creationId xmlns:a16="http://schemas.microsoft.com/office/drawing/2014/main" id="{2B4E586C-C51B-48CD-B913-7CB1ACE53090}"/>
              </a:ext>
            </a:extLst>
          </p:cNvPr>
          <p:cNvSpPr>
            <a:spLocks noGrp="1"/>
          </p:cNvSpPr>
          <p:nvPr>
            <p:ph idx="27" hasCustomPrompt="1"/>
          </p:nvPr>
        </p:nvSpPr>
        <p:spPr bwMode="gray">
          <a:xfrm>
            <a:off x="7280150" y="15120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6" name="Inhalt 6">
            <a:extLst>
              <a:ext uri="{FF2B5EF4-FFF2-40B4-BE49-F238E27FC236}">
                <a16:creationId xmlns:a16="http://schemas.microsoft.com/office/drawing/2014/main" id="{896D1088-B882-4647-BD68-51526FE12A0A}"/>
              </a:ext>
            </a:extLst>
          </p:cNvPr>
          <p:cNvSpPr>
            <a:spLocks noGrp="1"/>
          </p:cNvSpPr>
          <p:nvPr>
            <p:ph idx="28" hasCustomPrompt="1"/>
          </p:nvPr>
        </p:nvSpPr>
        <p:spPr bwMode="gray">
          <a:xfrm>
            <a:off x="9526842" y="1512000"/>
            <a:ext cx="2124276" cy="28152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7" name="Inhalt 6">
            <a:extLst>
              <a:ext uri="{FF2B5EF4-FFF2-40B4-BE49-F238E27FC236}">
                <a16:creationId xmlns:a16="http://schemas.microsoft.com/office/drawing/2014/main" id="{FFAF8FE0-81A4-4B10-8A69-97CE7FD123FA}"/>
              </a:ext>
            </a:extLst>
          </p:cNvPr>
          <p:cNvSpPr>
            <a:spLocks noGrp="1"/>
          </p:cNvSpPr>
          <p:nvPr>
            <p:ph idx="29" hasCustomPrompt="1"/>
          </p:nvPr>
        </p:nvSpPr>
        <p:spPr bwMode="gray">
          <a:xfrm>
            <a:off x="2786766" y="29952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8" name="Inhalt 6">
            <a:extLst>
              <a:ext uri="{FF2B5EF4-FFF2-40B4-BE49-F238E27FC236}">
                <a16:creationId xmlns:a16="http://schemas.microsoft.com/office/drawing/2014/main" id="{2F171A93-6BD1-40C2-80C8-B81D98D73B90}"/>
              </a:ext>
            </a:extLst>
          </p:cNvPr>
          <p:cNvSpPr>
            <a:spLocks noGrp="1"/>
          </p:cNvSpPr>
          <p:nvPr>
            <p:ph idx="30" hasCustomPrompt="1"/>
          </p:nvPr>
        </p:nvSpPr>
        <p:spPr bwMode="gray">
          <a:xfrm>
            <a:off x="7280150" y="29952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3" name="Inhalt 6">
            <a:extLst>
              <a:ext uri="{FF2B5EF4-FFF2-40B4-BE49-F238E27FC236}">
                <a16:creationId xmlns:a16="http://schemas.microsoft.com/office/drawing/2014/main" id="{B1018692-3C61-440C-AF6D-FFBA04CC6D1C}"/>
              </a:ext>
            </a:extLst>
          </p:cNvPr>
          <p:cNvSpPr>
            <a:spLocks noGrp="1"/>
          </p:cNvSpPr>
          <p:nvPr>
            <p:ph idx="25" hasCustomPrompt="1"/>
          </p:nvPr>
        </p:nvSpPr>
        <p:spPr bwMode="gray">
          <a:xfrm>
            <a:off x="2786766" y="1512000"/>
            <a:ext cx="2124276" cy="13320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39" name="Bild">
            <a:extLst>
              <a:ext uri="{FF2B5EF4-FFF2-40B4-BE49-F238E27FC236}">
                <a16:creationId xmlns:a16="http://schemas.microsoft.com/office/drawing/2014/main" id="{F7D057EF-71D1-4F1A-ADBF-D9AEA409D9F5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40074" y="1512000"/>
            <a:ext cx="2124276" cy="28152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Picture</a:t>
            </a:r>
          </a:p>
        </p:txBody>
      </p:sp>
      <p:sp>
        <p:nvSpPr>
          <p:cNvPr id="15" name="Inhalt 6"/>
          <p:cNvSpPr>
            <a:spLocks noGrp="1"/>
          </p:cNvSpPr>
          <p:nvPr>
            <p:ph idx="18" hasCustomPrompt="1"/>
          </p:nvPr>
        </p:nvSpPr>
        <p:spPr bwMode="gray">
          <a:xfrm>
            <a:off x="540074" y="1512000"/>
            <a:ext cx="2124276" cy="2815200"/>
          </a:xfrm>
          <a:noFill/>
        </p:spPr>
        <p:txBody>
          <a:bodyPr lIns="134869" tIns="674342" rIns="134869" bIns="80922" anchor="b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49511" indent="0">
              <a:buNone/>
              <a:defRPr>
                <a:solidFill>
                  <a:schemeClr val="bg1"/>
                </a:solidFill>
              </a:defRPr>
            </a:lvl2pPr>
            <a:lvl3pPr marL="809118" indent="0">
              <a:buNone/>
              <a:defRPr>
                <a:solidFill>
                  <a:schemeClr val="bg1"/>
                </a:solidFill>
              </a:defRPr>
            </a:lvl3pPr>
            <a:lvl4pPr marL="1168721" indent="0">
              <a:buNone/>
              <a:defRPr>
                <a:solidFill>
                  <a:schemeClr val="bg1"/>
                </a:solidFill>
              </a:defRPr>
            </a:lvl4pPr>
            <a:lvl5pPr marL="15283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dirty="0"/>
              <a:t>Edit Master </a:t>
            </a:r>
            <a:br>
              <a:rPr lang="de-DE" noProof="0" dirty="0"/>
            </a:br>
            <a:r>
              <a:rPr lang="de-DE" noProof="0" dirty="0"/>
              <a:t>title style</a:t>
            </a:r>
          </a:p>
        </p:txBody>
      </p:sp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1" y="972000"/>
            <a:ext cx="11111047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 dirty="0"/>
              <a:t>Enter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  <a:r>
              <a:rPr lang="de-DE" noProof="0" dirty="0" err="1"/>
              <a:t>subtitle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040662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3" name="Untertitel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1" y="972000"/>
            <a:ext cx="11111047" cy="5400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noProof="0" dirty="0"/>
              <a:t>Enter </a:t>
            </a:r>
            <a:r>
              <a:rPr lang="de-DE" noProof="0" dirty="0" err="1"/>
              <a:t>your</a:t>
            </a:r>
            <a:r>
              <a:rPr lang="de-DE" noProof="0" dirty="0"/>
              <a:t> </a:t>
            </a:r>
            <a:r>
              <a:rPr lang="de-DE" noProof="0" dirty="0" err="1"/>
              <a:t>subtitle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endParaRPr lang="de-DE" noProof="0" dirty="0"/>
          </a:p>
        </p:txBody>
      </p:sp>
      <p:sp>
        <p:nvSpPr>
          <p:cNvPr id="3" name="Inhalt"/>
          <p:cNvSpPr>
            <a:spLocks noGrp="1"/>
          </p:cNvSpPr>
          <p:nvPr>
            <p:ph idx="1" hasCustomPrompt="1"/>
          </p:nvPr>
        </p:nvSpPr>
        <p:spPr bwMode="gray">
          <a:xfrm>
            <a:off x="540071" y="1512000"/>
            <a:ext cx="11111047" cy="4298400"/>
          </a:xfrm>
        </p:spPr>
        <p:txBody>
          <a:bodyPr/>
          <a:lstStyle/>
          <a:p>
            <a:pPr marL="269993" marR="0" lvl="0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ck to edit Master text styles</a:t>
            </a:r>
          </a:p>
          <a:p>
            <a:pPr marL="719982" marR="0" lvl="1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cond level</a:t>
            </a:r>
          </a:p>
          <a:p>
            <a:pPr marL="1079973" marR="0" lvl="2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ird level</a:t>
            </a:r>
          </a:p>
          <a:p>
            <a:pPr marL="1439964" marR="0" lvl="3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urth level</a:t>
            </a:r>
          </a:p>
          <a:p>
            <a:pPr marL="1799955" marR="0" lvl="4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9932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262626"/>
          </a:solidFill>
          <a:ln w="12700">
            <a:noFill/>
            <a:round/>
            <a:headEnd/>
            <a:tailEnd/>
          </a:ln>
        </p:spPr>
        <p:txBody>
          <a:bodyPr rot="0" spcFirstLastPara="0" vert="horz" wrap="square" lIns="91431" tIns="45715" rIns="91431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7"/>
            <a:ext cx="11134587" cy="541475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rgbClr val="A6A6A6"/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 hasCustomPrompt="1"/>
          </p:nvPr>
        </p:nvSpPr>
        <p:spPr>
          <a:xfrm>
            <a:off x="516321" y="1483952"/>
            <a:ext cx="11134799" cy="4319248"/>
          </a:xfrm>
          <a:noFill/>
        </p:spPr>
        <p:txBody>
          <a:bodyPr/>
          <a:lstStyle>
            <a:lvl1pPr>
              <a:defRPr sz="2200">
                <a:solidFill>
                  <a:srgbClr val="D9D9D9"/>
                </a:solidFill>
              </a:defRPr>
            </a:lvl1pPr>
            <a:lvl2pPr>
              <a:defRPr>
                <a:solidFill>
                  <a:srgbClr val="D9D9D9"/>
                </a:solidFill>
              </a:defRPr>
            </a:lvl2pPr>
            <a:lvl3pPr>
              <a:defRPr>
                <a:solidFill>
                  <a:srgbClr val="D9D9D9"/>
                </a:solidFill>
              </a:defRPr>
            </a:lvl3pPr>
            <a:lvl4pPr>
              <a:defRPr>
                <a:solidFill>
                  <a:srgbClr val="D9D9D9"/>
                </a:solidFill>
              </a:defRPr>
            </a:lvl4pPr>
            <a:lvl5pPr>
              <a:defRPr>
                <a:solidFill>
                  <a:srgbClr val="D9D9D9"/>
                </a:solidFill>
              </a:defRPr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42022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PFEHLUNGEN">
    <p:bg bwMode="gray"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71" y="432000"/>
            <a:ext cx="11111047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1" name="Bild 1">
            <a:extLst>
              <a:ext uri="{FF2B5EF4-FFF2-40B4-BE49-F238E27FC236}">
                <a16:creationId xmlns:a16="http://schemas.microsoft.com/office/drawing/2014/main" id="{FDBAC1D6-F982-4CB7-A3BF-76A69CAA15BF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gray">
          <a:xfrm>
            <a:off x="540070" y="2095200"/>
            <a:ext cx="3600468" cy="20268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2" name="Text 1">
            <a:extLst>
              <a:ext uri="{FF2B5EF4-FFF2-40B4-BE49-F238E27FC236}">
                <a16:creationId xmlns:a16="http://schemas.microsoft.com/office/drawing/2014/main" id="{CB682352-50EC-4DA2-AAF5-80ED0B0DB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40073" y="4320000"/>
            <a:ext cx="3600468" cy="540000"/>
          </a:xfrm>
        </p:spPr>
        <p:txBody>
          <a:bodyPr/>
          <a:lstStyle>
            <a:lvl1pPr marL="0" indent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buNone/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52991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Bild 2">
            <a:extLst>
              <a:ext uri="{FF2B5EF4-FFF2-40B4-BE49-F238E27FC236}">
                <a16:creationId xmlns:a16="http://schemas.microsoft.com/office/drawing/2014/main" id="{3CFF6691-0D52-449F-B228-82F79CDD7BA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 bwMode="gray">
          <a:xfrm>
            <a:off x="4295767" y="2095200"/>
            <a:ext cx="3600468" cy="20268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9428620A-732F-48B6-8A2C-A7657453B5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95361" y="4320000"/>
            <a:ext cx="3600468" cy="540000"/>
          </a:xfrm>
        </p:spPr>
        <p:txBody>
          <a:bodyPr/>
          <a:lstStyle>
            <a:lvl1pPr marL="0" indent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buNone/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52991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Bild 3">
            <a:extLst>
              <a:ext uri="{FF2B5EF4-FFF2-40B4-BE49-F238E27FC236}">
                <a16:creationId xmlns:a16="http://schemas.microsoft.com/office/drawing/2014/main" id="{F3B54565-3EA0-4861-8CD0-BA8870C0786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gray">
          <a:xfrm>
            <a:off x="8050651" y="2095200"/>
            <a:ext cx="3600468" cy="2026800"/>
          </a:xfrm>
          <a:solidFill>
            <a:schemeClr val="bg1">
              <a:lumMod val="85000"/>
            </a:schemeClr>
          </a:solidFill>
        </p:spPr>
        <p:txBody>
          <a:bodyPr lIns="144000" tIns="144000" rIns="144000" bIns="144000"/>
          <a:lstStyle>
            <a:lvl1pPr marL="0" indent="0">
              <a:buNone/>
              <a:defRPr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4" name="Text 3">
            <a:extLst>
              <a:ext uri="{FF2B5EF4-FFF2-40B4-BE49-F238E27FC236}">
                <a16:creationId xmlns:a16="http://schemas.microsoft.com/office/drawing/2014/main" id="{2A5B4010-D1EF-4D1C-B59D-F4E11D9516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50650" y="4320000"/>
            <a:ext cx="3600468" cy="540000"/>
          </a:xfrm>
        </p:spPr>
        <p:txBody>
          <a:bodyPr/>
          <a:lstStyle>
            <a:lvl1pPr marL="0" indent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buNone/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algn="l" defTabSz="914286" rtl="0" eaLnBrk="1" latinLnBrk="0" hangingPunct="1">
              <a:lnSpc>
                <a:spcPct val="90000"/>
              </a:lnSpc>
              <a:spcAft>
                <a:spcPts val="1000"/>
              </a:spcAft>
              <a:defRPr lang="de-DE" sz="1400" u="sng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5pPr marL="1529911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1185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4019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0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03" name="Google Shape;103;p10"/>
          <p:cNvGrpSpPr/>
          <p:nvPr/>
        </p:nvGrpSpPr>
        <p:grpSpPr>
          <a:xfrm>
            <a:off x="361001" y="407942"/>
            <a:ext cx="9563233" cy="4685725"/>
            <a:chOff x="270750" y="305956"/>
            <a:chExt cx="7172425" cy="3514294"/>
          </a:xfrm>
        </p:grpSpPr>
        <p:sp>
          <p:nvSpPr>
            <p:cNvPr id="104" name="Google Shape;104;p10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5" name="Google Shape;105;p10"/>
            <p:cNvSpPr/>
            <p:nvPr/>
          </p:nvSpPr>
          <p:spPr>
            <a:xfrm>
              <a:off x="6871075" y="4450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06" name="Google Shape;106;p10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07" name="Google Shape;107;p10"/>
          <p:cNvSpPr txBox="1">
            <a:spLocks noGrp="1"/>
          </p:cNvSpPr>
          <p:nvPr>
            <p:ph type="body" idx="1"/>
          </p:nvPr>
        </p:nvSpPr>
        <p:spPr>
          <a:xfrm>
            <a:off x="1418900" y="4827967"/>
            <a:ext cx="46772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tillium Web"/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01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0" name="Google Shape;110;p11"/>
          <p:cNvSpPr txBox="1">
            <a:spLocks noGrp="1"/>
          </p:cNvSpPr>
          <p:nvPr>
            <p:ph type="title" hasCustomPrompt="1"/>
          </p:nvPr>
        </p:nvSpPr>
        <p:spPr>
          <a:xfrm>
            <a:off x="3488600" y="1982833"/>
            <a:ext cx="5214800" cy="1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3333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1" name="Google Shape;111;p11"/>
          <p:cNvSpPr txBox="1">
            <a:spLocks noGrp="1"/>
          </p:cNvSpPr>
          <p:nvPr>
            <p:ph type="body" idx="1"/>
          </p:nvPr>
        </p:nvSpPr>
        <p:spPr>
          <a:xfrm>
            <a:off x="1874933" y="4204633"/>
            <a:ext cx="7336000" cy="226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●"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○"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Char char="■"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12" name="Google Shape;112;p11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13" name="Google Shape;113;p11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4" name="Google Shape;114;p11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5" name="Google Shape;115;p11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6" name="Google Shape;116;p11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17" name="Google Shape;117;p11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68758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6807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13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1" name="Google Shape;121;p13"/>
          <p:cNvSpPr txBox="1">
            <a:spLocks noGrp="1"/>
          </p:cNvSpPr>
          <p:nvPr>
            <p:ph type="ctrTitle"/>
          </p:nvPr>
        </p:nvSpPr>
        <p:spPr>
          <a:xfrm flipH="1">
            <a:off x="6326900" y="3721533"/>
            <a:ext cx="4806800" cy="62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3200"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Font typeface="Titillium Web"/>
              <a:buNone/>
              <a:defRPr sz="16000"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subTitle" idx="1"/>
          </p:nvPr>
        </p:nvSpPr>
        <p:spPr>
          <a:xfrm rot="-286" flipH="1">
            <a:off x="6326900" y="1807567"/>
            <a:ext cx="4806800" cy="177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Titillium Web"/>
              <a:buNone/>
              <a:defRPr sz="2667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23" name="Google Shape;123;p13"/>
          <p:cNvGrpSpPr/>
          <p:nvPr/>
        </p:nvGrpSpPr>
        <p:grpSpPr>
          <a:xfrm rot="10800000" flipH="1">
            <a:off x="361001" y="337532"/>
            <a:ext cx="11604700" cy="5918368"/>
            <a:chOff x="270750" y="-96626"/>
            <a:chExt cx="8703525" cy="4438776"/>
          </a:xfrm>
        </p:grpSpPr>
        <p:sp>
          <p:nvSpPr>
            <p:cNvPr id="124" name="Google Shape;124;p13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5" name="Google Shape;125;p13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6" name="Google Shape;126;p13"/>
            <p:cNvSpPr/>
            <p:nvPr/>
          </p:nvSpPr>
          <p:spPr>
            <a:xfrm>
              <a:off x="7246850" y="-96626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7" name="Google Shape;127;p13"/>
            <p:cNvSpPr/>
            <p:nvPr/>
          </p:nvSpPr>
          <p:spPr>
            <a:xfrm>
              <a:off x="84021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8" name="Google Shape;128;p13"/>
            <p:cNvSpPr/>
            <p:nvPr/>
          </p:nvSpPr>
          <p:spPr>
            <a:xfrm>
              <a:off x="758713" y="43488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29" name="Google Shape;129;p13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373661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Title and three columns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14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32" name="Google Shape;132;p14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3" name="Google Shape;133;p14"/>
          <p:cNvSpPr txBox="1">
            <a:spLocks noGrp="1"/>
          </p:cNvSpPr>
          <p:nvPr>
            <p:ph type="subTitle" idx="1"/>
          </p:nvPr>
        </p:nvSpPr>
        <p:spPr>
          <a:xfrm>
            <a:off x="1584553" y="3498977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4" name="Google Shape;134;p14"/>
          <p:cNvSpPr txBox="1">
            <a:spLocks noGrp="1"/>
          </p:cNvSpPr>
          <p:nvPr>
            <p:ph type="subTitle" idx="2"/>
          </p:nvPr>
        </p:nvSpPr>
        <p:spPr>
          <a:xfrm>
            <a:off x="8135173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5" name="Google Shape;135;p14"/>
          <p:cNvSpPr txBox="1">
            <a:spLocks noGrp="1"/>
          </p:cNvSpPr>
          <p:nvPr>
            <p:ph type="subTitle" idx="3"/>
          </p:nvPr>
        </p:nvSpPr>
        <p:spPr>
          <a:xfrm>
            <a:off x="4858361" y="351057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6" name="Google Shape;136;p14"/>
          <p:cNvSpPr txBox="1">
            <a:spLocks noGrp="1"/>
          </p:cNvSpPr>
          <p:nvPr>
            <p:ph type="subTitle" idx="4"/>
          </p:nvPr>
        </p:nvSpPr>
        <p:spPr>
          <a:xfrm>
            <a:off x="1294167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7" name="Google Shape;137;p14"/>
          <p:cNvSpPr txBox="1">
            <a:spLocks noGrp="1"/>
          </p:cNvSpPr>
          <p:nvPr>
            <p:ph type="subTitle" idx="5"/>
          </p:nvPr>
        </p:nvSpPr>
        <p:spPr>
          <a:xfrm>
            <a:off x="4567961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subTitle" idx="6"/>
          </p:nvPr>
        </p:nvSpPr>
        <p:spPr>
          <a:xfrm>
            <a:off x="7844773" y="3952707"/>
            <a:ext cx="3048000" cy="93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Titillium Web"/>
              <a:buNone/>
              <a:defRPr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39" name="Google Shape;139;p14"/>
          <p:cNvGrpSpPr/>
          <p:nvPr/>
        </p:nvGrpSpPr>
        <p:grpSpPr>
          <a:xfrm rot="10800000" flipH="1">
            <a:off x="361001" y="337532"/>
            <a:ext cx="11503100" cy="5621467"/>
            <a:chOff x="270750" y="126050"/>
            <a:chExt cx="8627325" cy="4216100"/>
          </a:xfrm>
        </p:grpSpPr>
        <p:sp>
          <p:nvSpPr>
            <p:cNvPr id="140" name="Google Shape;140;p14"/>
            <p:cNvSpPr/>
            <p:nvPr/>
          </p:nvSpPr>
          <p:spPr>
            <a:xfrm>
              <a:off x="320500" y="126050"/>
              <a:ext cx="725100" cy="725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3" name="Google Shape;143;p14"/>
            <p:cNvSpPr/>
            <p:nvPr/>
          </p:nvSpPr>
          <p:spPr>
            <a:xfrm>
              <a:off x="7443175" y="3463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4" name="Google Shape;144;p14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45" name="Google Shape;145;p14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2899421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Title and six columns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Google Shape;147;p15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48" name="Google Shape;148;p15"/>
          <p:cNvGrpSpPr/>
          <p:nvPr/>
        </p:nvGrpSpPr>
        <p:grpSpPr>
          <a:xfrm>
            <a:off x="361001" y="337533"/>
            <a:ext cx="11503100" cy="5452001"/>
            <a:chOff x="270750" y="253149"/>
            <a:chExt cx="8627325" cy="4089001"/>
          </a:xfrm>
        </p:grpSpPr>
        <p:sp>
          <p:nvSpPr>
            <p:cNvPr id="149" name="Google Shape;149;p15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0" name="Google Shape;150;p15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1" name="Google Shape;151;p15"/>
            <p:cNvSpPr/>
            <p:nvPr/>
          </p:nvSpPr>
          <p:spPr>
            <a:xfrm>
              <a:off x="6009175" y="25314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2" name="Google Shape;152;p15"/>
            <p:cNvSpPr/>
            <p:nvPr/>
          </p:nvSpPr>
          <p:spPr>
            <a:xfrm>
              <a:off x="8325975" y="3398099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53" name="Google Shape;153;p15"/>
            <p:cNvSpPr/>
            <p:nvPr/>
          </p:nvSpPr>
          <p:spPr>
            <a:xfrm>
              <a:off x="23184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154" name="Google Shape;154;p15"/>
          <p:cNvSpPr txBox="1">
            <a:spLocks noGrp="1"/>
          </p:cNvSpPr>
          <p:nvPr>
            <p:ph type="subTitle" idx="1"/>
          </p:nvPr>
        </p:nvSpPr>
        <p:spPr>
          <a:xfrm>
            <a:off x="1685559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5" name="Google Shape;155;p15"/>
          <p:cNvSpPr txBox="1">
            <a:spLocks noGrp="1"/>
          </p:cNvSpPr>
          <p:nvPr>
            <p:ph type="subTitle" idx="2"/>
          </p:nvPr>
        </p:nvSpPr>
        <p:spPr>
          <a:xfrm>
            <a:off x="1795959" y="4088505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6" name="Google Shape;156;p15"/>
          <p:cNvSpPr txBox="1">
            <a:spLocks noGrp="1"/>
          </p:cNvSpPr>
          <p:nvPr>
            <p:ph type="subTitle" idx="3"/>
          </p:nvPr>
        </p:nvSpPr>
        <p:spPr>
          <a:xfrm>
            <a:off x="7933811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7" name="Google Shape;157;p15"/>
          <p:cNvSpPr txBox="1">
            <a:spLocks noGrp="1"/>
          </p:cNvSpPr>
          <p:nvPr>
            <p:ph type="subTitle" idx="4"/>
          </p:nvPr>
        </p:nvSpPr>
        <p:spPr>
          <a:xfrm>
            <a:off x="4864885" y="4088461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8" name="Google Shape;158;p15"/>
          <p:cNvSpPr txBox="1">
            <a:spLocks noGrp="1"/>
          </p:cNvSpPr>
          <p:nvPr>
            <p:ph type="subTitle" idx="5"/>
          </p:nvPr>
        </p:nvSpPr>
        <p:spPr>
          <a:xfrm>
            <a:off x="1795959" y="2170744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59" name="Google Shape;159;p15"/>
          <p:cNvSpPr txBox="1">
            <a:spLocks noGrp="1"/>
          </p:cNvSpPr>
          <p:nvPr>
            <p:ph type="subTitle" idx="6"/>
          </p:nvPr>
        </p:nvSpPr>
        <p:spPr>
          <a:xfrm>
            <a:off x="7933811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0" name="Google Shape;160;p15"/>
          <p:cNvSpPr txBox="1">
            <a:spLocks noGrp="1"/>
          </p:cNvSpPr>
          <p:nvPr>
            <p:ph type="subTitle" idx="7"/>
          </p:nvPr>
        </p:nvSpPr>
        <p:spPr>
          <a:xfrm>
            <a:off x="4864885" y="2174623"/>
            <a:ext cx="2467200" cy="4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1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1" name="Google Shape;161;p15"/>
          <p:cNvSpPr txBox="1">
            <a:spLocks noGrp="1"/>
          </p:cNvSpPr>
          <p:nvPr>
            <p:ph type="subTitle" idx="8"/>
          </p:nvPr>
        </p:nvSpPr>
        <p:spPr>
          <a:xfrm>
            <a:off x="4754485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2" name="Google Shape;162;p15"/>
          <p:cNvSpPr txBox="1">
            <a:spLocks noGrp="1"/>
          </p:cNvSpPr>
          <p:nvPr>
            <p:ph type="subTitle" idx="9"/>
          </p:nvPr>
        </p:nvSpPr>
        <p:spPr>
          <a:xfrm>
            <a:off x="7823411" y="2550351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3" name="Google Shape;163;p15"/>
          <p:cNvSpPr txBox="1">
            <a:spLocks noGrp="1"/>
          </p:cNvSpPr>
          <p:nvPr>
            <p:ph type="subTitle" idx="13"/>
          </p:nvPr>
        </p:nvSpPr>
        <p:spPr>
          <a:xfrm>
            <a:off x="1683043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4" name="Google Shape;164;p15"/>
          <p:cNvSpPr txBox="1">
            <a:spLocks noGrp="1"/>
          </p:cNvSpPr>
          <p:nvPr>
            <p:ph type="subTitle" idx="14"/>
          </p:nvPr>
        </p:nvSpPr>
        <p:spPr>
          <a:xfrm>
            <a:off x="4751968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5" name="Google Shape;165;p15"/>
          <p:cNvSpPr txBox="1">
            <a:spLocks noGrp="1"/>
          </p:cNvSpPr>
          <p:nvPr>
            <p:ph type="subTitle" idx="15"/>
          </p:nvPr>
        </p:nvSpPr>
        <p:spPr>
          <a:xfrm>
            <a:off x="7820895" y="4467084"/>
            <a:ext cx="2688000" cy="720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66" name="Google Shape;166;p15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05244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Title and text 2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6"/>
          <p:cNvSpPr/>
          <p:nvPr/>
        </p:nvSpPr>
        <p:spPr>
          <a:xfrm>
            <a:off x="135800" y="162600"/>
            <a:ext cx="11920400" cy="6532800"/>
          </a:xfrm>
          <a:prstGeom prst="roundRect">
            <a:avLst>
              <a:gd name="adj" fmla="val 7908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69" name="Google Shape;169;p16"/>
          <p:cNvSpPr txBox="1">
            <a:spLocks noGrp="1"/>
          </p:cNvSpPr>
          <p:nvPr>
            <p:ph type="title"/>
          </p:nvPr>
        </p:nvSpPr>
        <p:spPr>
          <a:xfrm flipH="1">
            <a:off x="6225033" y="1726200"/>
            <a:ext cx="4812800" cy="188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Titillium Web"/>
              <a:buNone/>
              <a:defRPr b="1"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sp>
        <p:nvSpPr>
          <p:cNvPr id="170" name="Google Shape;170;p16"/>
          <p:cNvSpPr txBox="1">
            <a:spLocks noGrp="1"/>
          </p:cNvSpPr>
          <p:nvPr>
            <p:ph type="subTitle" idx="1"/>
          </p:nvPr>
        </p:nvSpPr>
        <p:spPr>
          <a:xfrm flipH="1">
            <a:off x="6597833" y="3775000"/>
            <a:ext cx="4440000" cy="9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latin typeface="Titillium Web"/>
                <a:ea typeface="Titillium Web"/>
                <a:cs typeface="Titillium Web"/>
                <a:sym typeface="Titillium Web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Titillium Web"/>
              <a:buNone/>
              <a:defRPr sz="2133">
                <a:solidFill>
                  <a:schemeClr val="dk1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  <p:grpSp>
        <p:nvGrpSpPr>
          <p:cNvPr id="171" name="Google Shape;171;p16"/>
          <p:cNvGrpSpPr/>
          <p:nvPr/>
        </p:nvGrpSpPr>
        <p:grpSpPr>
          <a:xfrm rot="10800000" flipH="1">
            <a:off x="361001" y="337532"/>
            <a:ext cx="11503100" cy="5381592"/>
            <a:chOff x="270750" y="305956"/>
            <a:chExt cx="8627325" cy="4036194"/>
          </a:xfrm>
        </p:grpSpPr>
        <p:sp>
          <p:nvSpPr>
            <p:cNvPr id="172" name="Google Shape;172;p16"/>
            <p:cNvSpPr/>
            <p:nvPr/>
          </p:nvSpPr>
          <p:spPr>
            <a:xfrm>
              <a:off x="270750" y="3248150"/>
              <a:ext cx="572100" cy="5721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3" name="Google Shape;173;p16"/>
            <p:cNvSpPr/>
            <p:nvPr/>
          </p:nvSpPr>
          <p:spPr>
            <a:xfrm>
              <a:off x="8301150" y="4048150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4" name="Google Shape;174;p16"/>
            <p:cNvSpPr/>
            <p:nvPr/>
          </p:nvSpPr>
          <p:spPr>
            <a:xfrm>
              <a:off x="7218275" y="36057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5" name="Google Shape;175;p16"/>
            <p:cNvSpPr/>
            <p:nvPr/>
          </p:nvSpPr>
          <p:spPr>
            <a:xfrm>
              <a:off x="8325975" y="2965824"/>
              <a:ext cx="572100" cy="5727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6" name="Google Shape;176;p16"/>
            <p:cNvSpPr/>
            <p:nvPr/>
          </p:nvSpPr>
          <p:spPr>
            <a:xfrm>
              <a:off x="2495713" y="3142275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7" name="Google Shape;177;p16"/>
            <p:cNvSpPr/>
            <p:nvPr/>
          </p:nvSpPr>
          <p:spPr>
            <a:xfrm>
              <a:off x="5245438" y="3663063"/>
              <a:ext cx="520200" cy="5208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178" name="Google Shape;178;p16"/>
            <p:cNvSpPr/>
            <p:nvPr/>
          </p:nvSpPr>
          <p:spPr>
            <a:xfrm>
              <a:off x="2013645" y="305956"/>
              <a:ext cx="293700" cy="294000"/>
            </a:xfrm>
            <a:prstGeom prst="donut">
              <a:avLst>
                <a:gd name="adj" fmla="val 15949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</p:spTree>
    <p:extLst>
      <p:ext uri="{BB962C8B-B14F-4D97-AF65-F5344CB8AC3E}">
        <p14:creationId xmlns:p14="http://schemas.microsoft.com/office/powerpoint/2010/main" val="35743897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7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091763D-9311-F843-478D-53DB21F11B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27594896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26" imgW="444" imgH="443" progId="TCLayout.ActiveDocument.1">
                  <p:embed/>
                </p:oleObj>
              </mc:Choice>
              <mc:Fallback>
                <p:oleObj name="think-cell Folie" r:id="rId26" imgW="444" imgH="44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091763D-9311-F843-478D-53DB21F11B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Poppins ExtraBold"/>
              <a:buNone/>
              <a:defRPr sz="2800">
                <a:solidFill>
                  <a:schemeClr val="dk1"/>
                </a:solidFill>
                <a:latin typeface="Poppins ExtraBold"/>
                <a:ea typeface="Poppins ExtraBold"/>
                <a:cs typeface="Poppins ExtraBold"/>
                <a:sym typeface="Poppins ExtraBold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Titillium Web"/>
              <a:buChar char="●"/>
              <a:defRPr sz="1800"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1pPr>
            <a:lvl2pPr marL="914400" lvl="1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2pPr>
            <a:lvl3pPr marL="1371600" lvl="2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3pPr>
            <a:lvl4pPr marL="1828800" lvl="3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4pPr>
            <a:lvl5pPr marL="2286000" lvl="4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5pPr>
            <a:lvl6pPr marL="2743200" lvl="5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6pPr>
            <a:lvl7pPr marL="3200400" lvl="6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●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7pPr>
            <a:lvl8pPr marL="3657600" lvl="7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○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8pPr>
            <a:lvl9pPr marL="4114800" lvl="8" indent="-3175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Titillium Web"/>
              <a:buChar char="■"/>
              <a:defRPr>
                <a:solidFill>
                  <a:schemeClr val="dk2"/>
                </a:solidFill>
                <a:latin typeface="Titillium Web"/>
                <a:ea typeface="Titillium Web"/>
                <a:cs typeface="Titillium Web"/>
                <a:sym typeface="Titillium Web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88048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EDC9FB2-5147-C2C2-931C-9826223CD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1666938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0" imgW="444" imgH="443" progId="TCLayout.ActiveDocument.1">
                  <p:embed/>
                </p:oleObj>
              </mc:Choice>
              <mc:Fallback>
                <p:oleObj name="think-cell Slide" r:id="rId10" imgW="444" imgH="44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EDC9FB2-5147-C2C2-931C-9826223CD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71" y="432000"/>
            <a:ext cx="11111047" cy="10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71" y="1512000"/>
            <a:ext cx="11111047" cy="42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69993" marR="0" lvl="0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ck to edit Master text styles</a:t>
            </a:r>
          </a:p>
          <a:p>
            <a:pPr marL="719982" marR="0" lvl="1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econd level</a:t>
            </a:r>
          </a:p>
          <a:p>
            <a:pPr marL="1079973" marR="0" lvl="2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ird level</a:t>
            </a:r>
          </a:p>
          <a:p>
            <a:pPr marL="1439964" marR="0" lvl="3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urth level</a:t>
            </a:r>
          </a:p>
          <a:p>
            <a:pPr marL="1799955" marR="0" lvl="4" indent="-269993" algn="l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Calibri Light" panose="020F0302020204030204" pitchFamily="34" charset="0"/>
              <a:buChar char="–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2973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9993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719982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3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9964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99955" indent="-269993" algn="l" defTabSz="914377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Calibri Light" panose="020F030202020403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Relationship Id="rId9" Type="http://schemas.openxmlformats.org/officeDocument/2006/relationships/image" Target="../media/image9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6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2700000">
            <a:off x="7631116" y="3795351"/>
            <a:ext cx="2727720" cy="2743200"/>
          </a:xfrm>
          <a:custGeom>
            <a:avLst/>
            <a:gdLst/>
            <a:ahLst/>
            <a:cxnLst/>
            <a:rect l="l" t="t" r="r" b="b"/>
            <a:pathLst>
              <a:path w="4091579" h="4114800">
                <a:moveTo>
                  <a:pt x="0" y="0"/>
                </a:moveTo>
                <a:lnTo>
                  <a:pt x="4091579" y="0"/>
                </a:lnTo>
                <a:lnTo>
                  <a:pt x="4091579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" name="Freeform 3"/>
          <p:cNvSpPr/>
          <p:nvPr/>
        </p:nvSpPr>
        <p:spPr>
          <a:xfrm flipH="1" flipV="1">
            <a:off x="10534520" y="4917644"/>
            <a:ext cx="1657480" cy="1940357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" name="Freeform 4"/>
          <p:cNvSpPr/>
          <p:nvPr/>
        </p:nvSpPr>
        <p:spPr>
          <a:xfrm>
            <a:off x="685800" y="564835"/>
            <a:ext cx="2584645" cy="1089487"/>
          </a:xfrm>
          <a:custGeom>
            <a:avLst/>
            <a:gdLst/>
            <a:ahLst/>
            <a:cxnLst/>
            <a:rect l="l" t="t" r="r" b="b"/>
            <a:pathLst>
              <a:path w="3876967" h="1634230">
                <a:moveTo>
                  <a:pt x="0" y="0"/>
                </a:moveTo>
                <a:lnTo>
                  <a:pt x="3876967" y="0"/>
                </a:lnTo>
                <a:lnTo>
                  <a:pt x="3876967" y="1634230"/>
                </a:lnTo>
                <a:lnTo>
                  <a:pt x="0" y="1634230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TextBox 5"/>
          <p:cNvSpPr txBox="1"/>
          <p:nvPr/>
        </p:nvSpPr>
        <p:spPr>
          <a:xfrm>
            <a:off x="685800" y="2218805"/>
            <a:ext cx="7302707" cy="301037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7666"/>
              </a:lnSpc>
              <a:buClr>
                <a:srgbClr val="000000"/>
              </a:buClr>
            </a:pPr>
            <a: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Team Up 2024 </a:t>
            </a: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br>
              <a:rPr lang="en-US" sz="7666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</a:br>
            <a:endParaRPr lang="en-US" sz="7666" kern="0" dirty="0">
              <a:solidFill>
                <a:srgbClr val="000000"/>
              </a:solidFill>
              <a:latin typeface="Titillium Web Bold"/>
              <a:cs typeface="Arial"/>
              <a:sym typeface="Arial"/>
            </a:endParaRPr>
          </a:p>
        </p:txBody>
      </p:sp>
      <p:sp>
        <p:nvSpPr>
          <p:cNvPr id="6" name="TextBox 6"/>
          <p:cNvSpPr txBox="1"/>
          <p:nvPr/>
        </p:nvSpPr>
        <p:spPr>
          <a:xfrm>
            <a:off x="785037" y="3175648"/>
            <a:ext cx="3863691" cy="3513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1219170">
              <a:lnSpc>
                <a:spcPts val="2800"/>
              </a:lnSpc>
              <a:buClr>
                <a:srgbClr val="000000"/>
              </a:buClr>
            </a:pPr>
            <a:r>
              <a:rPr lang="en-US" sz="21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From the idea to the market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8418015" y="2245265"/>
            <a:ext cx="3088187" cy="407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1219170">
              <a:lnSpc>
                <a:spcPts val="3267"/>
              </a:lnSpc>
              <a:buClr>
                <a:srgbClr val="000000"/>
              </a:buClr>
            </a:pPr>
            <a:r>
              <a:rPr lang="en-US" sz="2333" kern="0" dirty="0">
                <a:solidFill>
                  <a:srgbClr val="000000"/>
                </a:solidFill>
                <a:latin typeface="Titillium Web Bold"/>
                <a:cs typeface="Arial"/>
                <a:sym typeface="Arial"/>
              </a:rPr>
              <a:t>June 27, 2024</a:t>
            </a:r>
          </a:p>
        </p:txBody>
      </p:sp>
      <p:sp>
        <p:nvSpPr>
          <p:cNvPr id="8" name="Freeform 8"/>
          <p:cNvSpPr/>
          <p:nvPr/>
        </p:nvSpPr>
        <p:spPr>
          <a:xfrm>
            <a:off x="6483752" y="685801"/>
            <a:ext cx="5022448" cy="847556"/>
          </a:xfrm>
          <a:custGeom>
            <a:avLst/>
            <a:gdLst/>
            <a:ahLst/>
            <a:cxnLst/>
            <a:rect l="l" t="t" r="r" b="b"/>
            <a:pathLst>
              <a:path w="7533672" h="1271333">
                <a:moveTo>
                  <a:pt x="0" y="0"/>
                </a:moveTo>
                <a:lnTo>
                  <a:pt x="7533672" y="0"/>
                </a:lnTo>
                <a:lnTo>
                  <a:pt x="7533672" y="1271333"/>
                </a:lnTo>
                <a:lnTo>
                  <a:pt x="0" y="1271333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3A5321BB-1FB7-40AB-94DA-1FD3311B516E}"/>
              </a:ext>
            </a:extLst>
          </p:cNvPr>
          <p:cNvSpPr txBox="1"/>
          <p:nvPr/>
        </p:nvSpPr>
        <p:spPr>
          <a:xfrm>
            <a:off x="662533" y="3815582"/>
            <a:ext cx="4320172" cy="14162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lnSpc>
                <a:spcPct val="90000"/>
              </a:lnSpc>
              <a:spcAft>
                <a:spcPts val="1333"/>
              </a:spcAft>
              <a:buClr>
                <a:srgbClr val="000000"/>
              </a:buClr>
            </a:pPr>
            <a:r>
              <a:rPr lang="en-US" sz="2800" b="1" kern="0" dirty="0">
                <a:solidFill>
                  <a:schemeClr val="accent2">
                    <a:lumMod val="50000"/>
                  </a:schemeClr>
                </a:solidFill>
                <a:latin typeface="Titillium Web"/>
                <a:ea typeface="Titillium Web"/>
                <a:cs typeface="Titillium Web"/>
                <a:sym typeface="Titillium Web"/>
              </a:rPr>
              <a:t>Business Model Canvas</a:t>
            </a:r>
            <a:endParaRPr lang="en-GB" sz="2800" kern="0" dirty="0">
              <a:solidFill>
                <a:schemeClr val="accent2">
                  <a:lumMod val="50000"/>
                </a:schemeClr>
              </a:solidFill>
              <a:latin typeface="Arial"/>
              <a:cs typeface="Arial"/>
              <a:sym typeface="Arial"/>
            </a:endParaRPr>
          </a:p>
          <a:p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(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add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your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Team /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Product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nam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 </a:t>
            </a:r>
            <a:r>
              <a:rPr lang="es-ES" sz="2500" b="1" dirty="0" err="1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here</a:t>
            </a:r>
            <a:r>
              <a:rPr lang="es-ES" sz="2500" b="1" dirty="0">
                <a:solidFill>
                  <a:schemeClr val="accent2">
                    <a:lumMod val="50000"/>
                  </a:schemeClr>
                </a:solidFill>
                <a:latin typeface="Titillium Web Bold" panose="00000800000000000000" pitchFamily="2" charset="0"/>
              </a:rPr>
              <a:t>)</a:t>
            </a:r>
            <a:endParaRPr lang="en-GB" sz="2500" b="1" dirty="0">
              <a:solidFill>
                <a:schemeClr val="accent2">
                  <a:lumMod val="50000"/>
                </a:schemeClr>
              </a:solidFill>
              <a:latin typeface="Titillium Web Bold" panose="00000800000000000000" pitchFamily="2" charset="0"/>
            </a:endParaRPr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F9D6A2E9-759D-45DA-8C32-4480D0E65B59}"/>
              </a:ext>
            </a:extLst>
          </p:cNvPr>
          <p:cNvSpPr/>
          <p:nvPr/>
        </p:nvSpPr>
        <p:spPr>
          <a:xfrm>
            <a:off x="5164154" y="3447975"/>
            <a:ext cx="3631134" cy="3010376"/>
          </a:xfrm>
          <a:custGeom>
            <a:avLst/>
            <a:gdLst/>
            <a:ahLst/>
            <a:cxnLst/>
            <a:rect l="l" t="t" r="r" b="b"/>
            <a:pathLst>
              <a:path w="2732020" h="2359782">
                <a:moveTo>
                  <a:pt x="0" y="0"/>
                </a:moveTo>
                <a:lnTo>
                  <a:pt x="2732020" y="0"/>
                </a:lnTo>
                <a:lnTo>
                  <a:pt x="2732020" y="2359783"/>
                </a:lnTo>
                <a:lnTo>
                  <a:pt x="0" y="2359783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pl-PL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14DEC14-BE98-46E4-A4DB-A9D7BCA1F51E}"/>
              </a:ext>
            </a:extLst>
          </p:cNvPr>
          <p:cNvGrpSpPr/>
          <p:nvPr/>
        </p:nvGrpSpPr>
        <p:grpSpPr bwMode="gray">
          <a:xfrm>
            <a:off x="741522" y="28162"/>
            <a:ext cx="11444397" cy="5753621"/>
            <a:chOff x="540001" y="1520825"/>
            <a:chExt cx="11109600" cy="4291189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08591D40-9F0E-4ADD-B876-3D801ADE5354}"/>
                </a:ext>
              </a:extLst>
            </p:cNvPr>
            <p:cNvSpPr/>
            <p:nvPr/>
          </p:nvSpPr>
          <p:spPr bwMode="gray">
            <a:xfrm>
              <a:off x="540001" y="1520827"/>
              <a:ext cx="2221920" cy="311584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5297875-C3B3-464F-AD2B-6F017D5894B3}"/>
                </a:ext>
              </a:extLst>
            </p:cNvPr>
            <p:cNvSpPr/>
            <p:nvPr/>
          </p:nvSpPr>
          <p:spPr bwMode="gray">
            <a:xfrm>
              <a:off x="2761921" y="1520825"/>
              <a:ext cx="2221920" cy="1561497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CC5F30E9-E27C-4208-937E-79901B870FC4}"/>
                </a:ext>
              </a:extLst>
            </p:cNvPr>
            <p:cNvSpPr/>
            <p:nvPr/>
          </p:nvSpPr>
          <p:spPr bwMode="gray">
            <a:xfrm>
              <a:off x="4983841" y="1520827"/>
              <a:ext cx="2221920" cy="312299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9BBB59">
                    <a:lumMod val="75000"/>
                  </a:srgbClr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58DF78ED-E049-48A3-8AE2-8A024E5E8846}"/>
                </a:ext>
              </a:extLst>
            </p:cNvPr>
            <p:cNvSpPr/>
            <p:nvPr/>
          </p:nvSpPr>
          <p:spPr bwMode="gray">
            <a:xfrm>
              <a:off x="7205761" y="1520826"/>
              <a:ext cx="2221920" cy="156149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FFC000">
                    <a:lumMod val="75000"/>
                  </a:srgbClr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6E8C8D3-2D11-46DC-AB8F-5BAB3858760A}"/>
                </a:ext>
              </a:extLst>
            </p:cNvPr>
            <p:cNvSpPr/>
            <p:nvPr/>
          </p:nvSpPr>
          <p:spPr bwMode="gray">
            <a:xfrm>
              <a:off x="2761918" y="3075176"/>
              <a:ext cx="2221920" cy="156864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EFDB0878-471F-4F2F-A23C-E88315142CC1}"/>
                </a:ext>
              </a:extLst>
            </p:cNvPr>
            <p:cNvSpPr/>
            <p:nvPr/>
          </p:nvSpPr>
          <p:spPr bwMode="gray">
            <a:xfrm>
              <a:off x="7205758" y="3075177"/>
              <a:ext cx="2221920" cy="156864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24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FFC000">
                    <a:lumMod val="75000"/>
                  </a:srgbClr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6671540-498B-46FD-9763-76993ADA6A9F}"/>
                </a:ext>
              </a:extLst>
            </p:cNvPr>
            <p:cNvSpPr/>
            <p:nvPr/>
          </p:nvSpPr>
          <p:spPr bwMode="gray">
            <a:xfrm>
              <a:off x="540001" y="4636672"/>
              <a:ext cx="5554796" cy="117534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3498DB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C6B3E84A-FF3D-44E4-98FE-DEDAF326461E}"/>
                </a:ext>
              </a:extLst>
            </p:cNvPr>
            <p:cNvSpPr/>
            <p:nvPr/>
          </p:nvSpPr>
          <p:spPr bwMode="gray">
            <a:xfrm>
              <a:off x="6094797" y="4636672"/>
              <a:ext cx="5554801" cy="117534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3498DB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DD67A9E9-1B74-4349-938F-0CCED0927BDB}"/>
                </a:ext>
              </a:extLst>
            </p:cNvPr>
            <p:cNvSpPr/>
            <p:nvPr/>
          </p:nvSpPr>
          <p:spPr bwMode="gray">
            <a:xfrm>
              <a:off x="9427681" y="1520825"/>
              <a:ext cx="2221920" cy="3115845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tx2"/>
              </a:solidFill>
              <a:round/>
              <a:headEnd/>
              <a:tailEnd/>
            </a:ln>
          </p:spPr>
          <p:txBody>
            <a:bodyPr rot="0" spcFirstLastPara="0" vertOverflow="overflow" horzOverflow="overflow" vert="horz" wrap="square" lIns="108000" tIns="396000" rIns="108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377">
                <a:spcAft>
                  <a:spcPts val="600"/>
                </a:spcAft>
              </a:pPr>
              <a:endParaRPr lang="en-US" sz="1200" dirty="0">
                <a:solidFill>
                  <a:srgbClr val="7D7D7D"/>
                </a:solidFill>
                <a:latin typeface="Calibri Light" panose="020F0302020204030204" pitchFamily="34" charset="0"/>
                <a:cs typeface="Arial"/>
                <a:sym typeface="Arial"/>
              </a:endParaRPr>
            </a:p>
          </p:txBody>
        </p:sp>
      </p:grpSp>
      <p:sp>
        <p:nvSpPr>
          <p:cNvPr id="15" name="Rechteck 14">
            <a:extLst>
              <a:ext uri="{FF2B5EF4-FFF2-40B4-BE49-F238E27FC236}">
                <a16:creationId xmlns:a16="http://schemas.microsoft.com/office/drawing/2014/main" id="{4CF14B0D-AEF1-4613-BF9B-913D09522429}"/>
              </a:ext>
            </a:extLst>
          </p:cNvPr>
          <p:cNvSpPr/>
          <p:nvPr/>
        </p:nvSpPr>
        <p:spPr bwMode="gray">
          <a:xfrm>
            <a:off x="2963439" y="2205879"/>
            <a:ext cx="1449020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Key </a:t>
            </a:r>
            <a:b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Resources</a:t>
            </a:r>
            <a:endParaRPr lang="en-US" sz="1600" dirty="0">
              <a:solidFill>
                <a:srgbClr val="2C3E50"/>
              </a:solidFill>
              <a:latin typeface="Bebas Neue" panose="020B0506020202020201" pitchFamily="34" charset="0"/>
              <a:cs typeface="Arial"/>
              <a:sym typeface="Arial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F016C90E-E9B6-46EE-A605-A2536CC35F5C}"/>
              </a:ext>
            </a:extLst>
          </p:cNvPr>
          <p:cNvSpPr/>
          <p:nvPr/>
        </p:nvSpPr>
        <p:spPr bwMode="gray">
          <a:xfrm>
            <a:off x="7613923" y="2105365"/>
            <a:ext cx="2221920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hannels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F327041-2ED0-42E0-8BF5-7C70A679F14F}"/>
              </a:ext>
            </a:extLst>
          </p:cNvPr>
          <p:cNvSpPr/>
          <p:nvPr/>
        </p:nvSpPr>
        <p:spPr bwMode="gray">
          <a:xfrm>
            <a:off x="741522" y="4289949"/>
            <a:ext cx="3940021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ost Structure</a:t>
            </a:r>
            <a:endParaRPr lang="en-US" sz="1600" dirty="0">
              <a:solidFill>
                <a:srgbClr val="2C3E50"/>
              </a:solidFill>
              <a:latin typeface="Bebas Neue" panose="020B0506020202020201" pitchFamily="34" charset="0"/>
              <a:cs typeface="Arial"/>
              <a:sym typeface="Arial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7C7F8A1-89D2-46B3-8AEE-47AF9B084900}"/>
              </a:ext>
            </a:extLst>
          </p:cNvPr>
          <p:cNvSpPr/>
          <p:nvPr/>
        </p:nvSpPr>
        <p:spPr bwMode="gray">
          <a:xfrm>
            <a:off x="741523" y="243076"/>
            <a:ext cx="2221916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Key </a:t>
            </a:r>
            <a:b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Partners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17562E2-FD04-40A2-AC07-FCEB8B2F4AC2}"/>
              </a:ext>
            </a:extLst>
          </p:cNvPr>
          <p:cNvSpPr/>
          <p:nvPr/>
        </p:nvSpPr>
        <p:spPr bwMode="gray">
          <a:xfrm>
            <a:off x="3077903" y="112229"/>
            <a:ext cx="1603640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Key </a:t>
            </a:r>
            <a:b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Activities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0A24AD4D-3025-4952-A7EC-8EA2EBB6CA6C}"/>
              </a:ext>
            </a:extLst>
          </p:cNvPr>
          <p:cNvSpPr/>
          <p:nvPr/>
        </p:nvSpPr>
        <p:spPr bwMode="gray">
          <a:xfrm>
            <a:off x="5335745" y="112229"/>
            <a:ext cx="2071536" cy="568327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Value </a:t>
            </a:r>
            <a:b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</a:b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Propositio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0E6827CE-E616-4A2F-861D-BAAADEFDA549}"/>
              </a:ext>
            </a:extLst>
          </p:cNvPr>
          <p:cNvSpPr/>
          <p:nvPr/>
        </p:nvSpPr>
        <p:spPr bwMode="gray">
          <a:xfrm>
            <a:off x="7622325" y="112229"/>
            <a:ext cx="1655700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ustomer Relationships</a:t>
            </a:r>
            <a:endParaRPr lang="en-US" sz="1600" dirty="0">
              <a:solidFill>
                <a:srgbClr val="2C3E50"/>
              </a:solidFill>
              <a:latin typeface="Bebas Neue" panose="020B0506020202020201" pitchFamily="34" charset="0"/>
              <a:cs typeface="Arial"/>
              <a:sym typeface="Arial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1D657EA-0A8B-4116-B10E-591CECB00450}"/>
              </a:ext>
            </a:extLst>
          </p:cNvPr>
          <p:cNvSpPr/>
          <p:nvPr/>
        </p:nvSpPr>
        <p:spPr bwMode="gray">
          <a:xfrm>
            <a:off x="9827639" y="112229"/>
            <a:ext cx="1527837" cy="325912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Customer Segments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E8997B8-6A93-46D5-A436-67124D625FC1}"/>
              </a:ext>
            </a:extLst>
          </p:cNvPr>
          <p:cNvSpPr/>
          <p:nvPr/>
        </p:nvSpPr>
        <p:spPr bwMode="gray">
          <a:xfrm>
            <a:off x="6594084" y="4300865"/>
            <a:ext cx="3428309" cy="325505"/>
          </a:xfrm>
          <a:prstGeom prst="rect">
            <a:avLst/>
          </a:prstGeom>
          <a:noFill/>
          <a:ln w="12700">
            <a:noFill/>
            <a:round/>
            <a:headEnd/>
            <a:tailEnd/>
          </a:ln>
        </p:spPr>
        <p:txBody>
          <a:bodyPr lIns="108000" tIns="108000" rIns="36000" rtlCol="0" anchor="ctr"/>
          <a:lstStyle/>
          <a:p>
            <a:pPr defTabSz="914377">
              <a:lnSpc>
                <a:spcPct val="80000"/>
              </a:lnSpc>
            </a:pPr>
            <a:r>
              <a:rPr lang="en-US" sz="1600" dirty="0">
                <a:solidFill>
                  <a:srgbClr val="2C3E50"/>
                </a:solidFill>
                <a:latin typeface="Bebas Neue" panose="020B0506020202020201" pitchFamily="34" charset="0"/>
                <a:cs typeface="Arial"/>
                <a:sym typeface="Arial"/>
              </a:rPr>
              <a:t>Revenue Streams</a:t>
            </a: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EE04811C-5D83-4E9F-9A72-56B555DCEBD2}"/>
              </a:ext>
            </a:extLst>
          </p:cNvPr>
          <p:cNvSpPr/>
          <p:nvPr/>
        </p:nvSpPr>
        <p:spPr>
          <a:xfrm flipH="1" flipV="1">
            <a:off x="9053689" y="3070577"/>
            <a:ext cx="3138311" cy="3787423"/>
          </a:xfrm>
          <a:custGeom>
            <a:avLst/>
            <a:gdLst/>
            <a:ahLst/>
            <a:cxnLst/>
            <a:rect l="l" t="t" r="r" b="b"/>
            <a:pathLst>
              <a:path w="2486220" h="2910535">
                <a:moveTo>
                  <a:pt x="2486220" y="2910535"/>
                </a:moveTo>
                <a:lnTo>
                  <a:pt x="0" y="2910535"/>
                </a:lnTo>
                <a:lnTo>
                  <a:pt x="0" y="0"/>
                </a:lnTo>
                <a:lnTo>
                  <a:pt x="2486220" y="0"/>
                </a:lnTo>
                <a:lnTo>
                  <a:pt x="2486220" y="2910535"/>
                </a:lnTo>
                <a:close/>
              </a:path>
            </a:pathLst>
          </a:cu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</a:pPr>
            <a:endParaRPr lang="pl-PL" sz="1867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id="{E7731B51-BEC2-4D66-8E27-23B37ECD932C}"/>
              </a:ext>
            </a:extLst>
          </p:cNvPr>
          <p:cNvSpPr/>
          <p:nvPr/>
        </p:nvSpPr>
        <p:spPr>
          <a:xfrm>
            <a:off x="8147879" y="6026713"/>
            <a:ext cx="3358323" cy="566728"/>
          </a:xfrm>
          <a:custGeom>
            <a:avLst/>
            <a:gdLst/>
            <a:ahLst/>
            <a:cxnLst/>
            <a:rect l="l" t="t" r="r" b="b"/>
            <a:pathLst>
              <a:path w="5037483" h="850092">
                <a:moveTo>
                  <a:pt x="0" y="0"/>
                </a:moveTo>
                <a:lnTo>
                  <a:pt x="5037483" y="0"/>
                </a:lnTo>
                <a:lnTo>
                  <a:pt x="5037483" y="850092"/>
                </a:lnTo>
                <a:lnTo>
                  <a:pt x="0" y="850092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B43B2196-3849-4740-8A45-CC748B66012D}"/>
              </a:ext>
            </a:extLst>
          </p:cNvPr>
          <p:cNvSpPr/>
          <p:nvPr/>
        </p:nvSpPr>
        <p:spPr>
          <a:xfrm>
            <a:off x="685800" y="6026714"/>
            <a:ext cx="1505035" cy="634407"/>
          </a:xfrm>
          <a:custGeom>
            <a:avLst/>
            <a:gdLst/>
            <a:ahLst/>
            <a:cxnLst/>
            <a:rect l="l" t="t" r="r" b="b"/>
            <a:pathLst>
              <a:path w="2257552" h="951609">
                <a:moveTo>
                  <a:pt x="0" y="0"/>
                </a:moveTo>
                <a:lnTo>
                  <a:pt x="2257552" y="0"/>
                </a:lnTo>
                <a:lnTo>
                  <a:pt x="2257552" y="951609"/>
                </a:lnTo>
                <a:lnTo>
                  <a:pt x="0" y="951609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pPr defTabSz="1219170">
              <a:buClr>
                <a:srgbClr val="000000"/>
              </a:buClr>
              <a:defRPr/>
            </a:pPr>
            <a:endParaRPr lang="pl-PL" sz="933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8EF08FB7-C2C0-4514-BFEA-6D720189986A}"/>
              </a:ext>
            </a:extLst>
          </p:cNvPr>
          <p:cNvSpPr txBox="1"/>
          <p:nvPr/>
        </p:nvSpPr>
        <p:spPr>
          <a:xfrm rot="16200000">
            <a:off x="-1143313" y="4041421"/>
            <a:ext cx="3078852" cy="31895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defTabSz="1219170">
              <a:lnSpc>
                <a:spcPct val="90000"/>
              </a:lnSpc>
              <a:spcAft>
                <a:spcPts val="1333"/>
              </a:spcAft>
              <a:buClr>
                <a:srgbClr val="000000"/>
              </a:buClr>
            </a:pPr>
            <a:r>
              <a:rPr lang="en-US" sz="3733" b="1" kern="0" dirty="0">
                <a:solidFill>
                  <a:srgbClr val="814993">
                    <a:lumMod val="50000"/>
                  </a:srgbClr>
                </a:solidFill>
                <a:latin typeface="Titillium Web"/>
                <a:ea typeface="Titillium Web"/>
                <a:cs typeface="Titillium Web"/>
                <a:sym typeface="Titillium Web"/>
              </a:rPr>
              <a:t>Business Model Canvas</a:t>
            </a:r>
            <a:endParaRPr lang="en-GB" sz="373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451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Management System Planner by Slidesgo">
  <a:themeElements>
    <a:clrScheme name="Simple Light">
      <a:dk1>
        <a:srgbClr val="36338C"/>
      </a:dk1>
      <a:lt1>
        <a:srgbClr val="DAE3F2"/>
      </a:lt1>
      <a:dk2>
        <a:srgbClr val="161620"/>
      </a:dk2>
      <a:lt2>
        <a:srgbClr val="FFFFFF"/>
      </a:lt2>
      <a:accent1>
        <a:srgbClr val="C7CEDE"/>
      </a:accent1>
      <a:accent2>
        <a:srgbClr val="7966E4"/>
      </a:accent2>
      <a:accent3>
        <a:srgbClr val="F0F5FD"/>
      </a:accent3>
      <a:accent4>
        <a:srgbClr val="F1F4FD"/>
      </a:accent4>
      <a:accent5>
        <a:srgbClr val="36338C"/>
      </a:accent5>
      <a:accent6>
        <a:srgbClr val="DAE3F2"/>
      </a:accent6>
      <a:hlink>
        <a:srgbClr val="36338C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PRESENTATIONLOAD">
  <a:themeElements>
    <a:clrScheme name="Benutzerdefiniert 3">
      <a:dk1>
        <a:sysClr val="windowText" lastClr="000000"/>
      </a:dk1>
      <a:lt1>
        <a:sysClr val="window" lastClr="FFFFFF"/>
      </a:lt1>
      <a:dk2>
        <a:srgbClr val="2C3E50"/>
      </a:dk2>
      <a:lt2>
        <a:srgbClr val="FFFFFF"/>
      </a:lt2>
      <a:accent1>
        <a:srgbClr val="3498DB"/>
      </a:accent1>
      <a:accent2>
        <a:srgbClr val="C8303F"/>
      </a:accent2>
      <a:accent3>
        <a:srgbClr val="9BBB59"/>
      </a:accent3>
      <a:accent4>
        <a:srgbClr val="FFC000"/>
      </a:accent4>
      <a:accent5>
        <a:srgbClr val="814993"/>
      </a:accent5>
      <a:accent6>
        <a:srgbClr val="45B1CB"/>
      </a:accent6>
      <a:hlink>
        <a:srgbClr val="7F7F7F"/>
      </a:hlink>
      <a:folHlink>
        <a:srgbClr val="7F7F7F"/>
      </a:folHlink>
    </a:clrScheme>
    <a:fontScheme name="PL Styleguide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1">
              <a:lumMod val="6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</a:spPr>
      <a:bodyPr wrap="square" lIns="0" tIns="0" rIns="0" bIns="0" rtlCol="0">
        <a:noAutofit/>
      </a:bodyPr>
      <a:lstStyle>
        <a:defPPr>
          <a:lnSpc>
            <a:spcPct val="90000"/>
          </a:lnSpc>
          <a:spcAft>
            <a:spcPts val="1000"/>
          </a:spcAft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E8B00C54E9A4458AA9E89745AF4A9F" ma:contentTypeVersion="12" ma:contentTypeDescription="Ein neues Dokument erstellen." ma:contentTypeScope="" ma:versionID="0ead14d855999cb864b4f6ce39adbb23">
  <xsd:schema xmlns:xsd="http://www.w3.org/2001/XMLSchema" xmlns:xs="http://www.w3.org/2001/XMLSchema" xmlns:p="http://schemas.microsoft.com/office/2006/metadata/properties" xmlns:ns3="c7bc4340-b040-4ab0-9594-09bc24f60c36" xmlns:ns4="dda4a6e4-fa3f-4326-afe4-365fbf8b885d" targetNamespace="http://schemas.microsoft.com/office/2006/metadata/properties" ma:root="true" ma:fieldsID="8cbab6a89706f4e057b1f2344d54adc3" ns3:_="" ns4:_="">
    <xsd:import namespace="c7bc4340-b040-4ab0-9594-09bc24f60c36"/>
    <xsd:import namespace="dda4a6e4-fa3f-4326-afe4-365fbf8b88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bc4340-b040-4ab0-9594-09bc24f60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a4a6e4-fa3f-4326-afe4-365fbf8b885d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7bc4340-b040-4ab0-9594-09bc24f60c36" xsi:nil="true"/>
  </documentManagement>
</p:properties>
</file>

<file path=customXml/itemProps1.xml><?xml version="1.0" encoding="utf-8"?>
<ds:datastoreItem xmlns:ds="http://schemas.openxmlformats.org/officeDocument/2006/customXml" ds:itemID="{265406B8-1585-47CC-976B-9D3F7DA1D2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DE4AAC-2709-48C6-9431-DBEBEDEAF0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7bc4340-b040-4ab0-9594-09bc24f60c36"/>
    <ds:schemaRef ds:uri="dda4a6e4-fa3f-4326-afe4-365fbf8b88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F1A3308-7371-4919-B740-228E86D18ABC}">
  <ds:schemaRefs>
    <ds:schemaRef ds:uri="http://purl.org/dc/dcmitype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fopath/2007/PartnerControls"/>
    <ds:schemaRef ds:uri="dda4a6e4-fa3f-4326-afe4-365fbf8b885d"/>
    <ds:schemaRef ds:uri="c7bc4340-b040-4ab0-9594-09bc24f60c36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1</Words>
  <Application>Microsoft Office PowerPoint</Application>
  <PresentationFormat>Breitbild</PresentationFormat>
  <Paragraphs>15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</vt:i4>
      </vt:variant>
    </vt:vector>
  </HeadingPairs>
  <TitlesOfParts>
    <vt:vector size="17" baseType="lpstr">
      <vt:lpstr>Arial</vt:lpstr>
      <vt:lpstr>Bebas Neue</vt:lpstr>
      <vt:lpstr>Calibri</vt:lpstr>
      <vt:lpstr>Calibri Light</vt:lpstr>
      <vt:lpstr>Libre Franklin</vt:lpstr>
      <vt:lpstr>Open Sans</vt:lpstr>
      <vt:lpstr>Poppins ExtraBold</vt:lpstr>
      <vt:lpstr>Raleway Black</vt:lpstr>
      <vt:lpstr>Titillium Web</vt:lpstr>
      <vt:lpstr>Titillium Web Bold</vt:lpstr>
      <vt:lpstr>Wingdings</vt:lpstr>
      <vt:lpstr>2_Management System Planner by Slidesgo</vt:lpstr>
      <vt:lpstr>2_PRESENTATIONLOAD</vt:lpstr>
      <vt:lpstr>think-cell Folie</vt:lpstr>
      <vt:lpstr>think-cell Slide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totype canvas</dc:title>
  <dc:creator>Sylwia Sekula-Neuner</dc:creator>
  <cp:lastModifiedBy>Sylwia Sekula-Neuner</cp:lastModifiedBy>
  <cp:revision>4</cp:revision>
  <dcterms:created xsi:type="dcterms:W3CDTF">2023-06-28T08:43:16Z</dcterms:created>
  <dcterms:modified xsi:type="dcterms:W3CDTF">2024-06-20T14:5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E8B00C54E9A4458AA9E89745AF4A9F</vt:lpwstr>
  </property>
</Properties>
</file>